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</p:sldMasterIdLst>
  <p:notesMasterIdLst>
    <p:notesMasterId r:id="rId7"/>
  </p:notesMasterIdLst>
  <p:sldIdLst>
    <p:sldId id="304" r:id="rId6"/>
  </p:sldIdLst>
  <p:sldSz cx="9601200" cy="12801600" type="A3"/>
  <p:notesSz cx="7099300" cy="10234613"/>
  <p:custDataLst>
    <p:tags r:id="rId8"/>
  </p:custDataLst>
  <p:defaultTextStyle>
    <a:defPPr>
      <a:defRPr lang="ja-JP"/>
    </a:defPPr>
    <a:lvl1pPr marL="0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1pPr>
    <a:lvl2pPr marL="610956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2pPr>
    <a:lvl3pPr marL="1221913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3pPr>
    <a:lvl4pPr marL="1832869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4pPr>
    <a:lvl5pPr marL="2443825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5pPr>
    <a:lvl6pPr marL="3054782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6pPr>
    <a:lvl7pPr marL="3665738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7pPr>
    <a:lvl8pPr marL="4276695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8pPr>
    <a:lvl9pPr marL="4887651" algn="l" defTabSz="1221913" rtl="0" eaLnBrk="1" latinLnBrk="0" hangingPunct="1">
      <a:defRPr kumimoji="1" sz="240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2C2D"/>
    <a:srgbClr val="000000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376DDB-F416-4437-954F-AE6DFCE06B27}" v="1" dt="2025-04-16T01:16:49.0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3" d="100"/>
          <a:sy n="43" d="100"/>
        </p:scale>
        <p:origin x="2539" y="67"/>
      </p:cViewPr>
      <p:guideLst>
        <p:guide orient="horz" pos="4032"/>
        <p:guide pos="302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76363" cy="511731"/>
          </a:xfrm>
          <a:prstGeom prst="rect">
            <a:avLst/>
          </a:prstGeom>
        </p:spPr>
        <p:txBody>
          <a:bodyPr vert="horz" lIns="94754" tIns="47377" rIns="94754" bIns="47377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096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1296" y="0"/>
            <a:ext cx="3076363" cy="511731"/>
          </a:xfrm>
          <a:prstGeom prst="rect">
            <a:avLst/>
          </a:prstGeom>
        </p:spPr>
        <p:txBody>
          <a:bodyPr vert="horz" lIns="94754" tIns="47377" rIns="94754" bIns="47377" rtlCol="0"/>
          <a:lstStyle>
            <a:lvl1pPr algn="r">
              <a:defRPr sz="1200"/>
            </a:lvl1pPr>
          </a:lstStyle>
          <a:p>
            <a:fld id="{46D06EA9-14B5-4F31-95CC-6AD91D20700D}" type="datetimeFigureOut">
              <a:rPr kumimoji="1" lang="ja-JP" altLang="en-US" smtClean="0"/>
              <a:t>2025/4/24</a:t>
            </a:fld>
            <a:endParaRPr kumimoji="1" lang="ja-JP" altLang="en-US"/>
          </a:p>
        </p:txBody>
      </p:sp>
      <p:sp>
        <p:nvSpPr>
          <p:cNvPr id="1097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111375" y="768350"/>
            <a:ext cx="287655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4" tIns="47377" rIns="94754" bIns="47377" rtlCol="0" anchor="ctr"/>
          <a:lstStyle/>
          <a:p>
            <a:endParaRPr lang="ja-JP" altLang="en-US"/>
          </a:p>
        </p:txBody>
      </p:sp>
      <p:sp>
        <p:nvSpPr>
          <p:cNvPr id="1098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6"/>
          </a:xfrm>
          <a:prstGeom prst="rect">
            <a:avLst/>
          </a:prstGeom>
        </p:spPr>
        <p:txBody>
          <a:bodyPr vert="horz" lIns="94754" tIns="47377" rIns="94754" bIns="4737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099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721106"/>
            <a:ext cx="3076363" cy="511731"/>
          </a:xfrm>
          <a:prstGeom prst="rect">
            <a:avLst/>
          </a:prstGeom>
        </p:spPr>
        <p:txBody>
          <a:bodyPr vert="horz" lIns="94754" tIns="47377" rIns="94754" bIns="47377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1100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1296" y="9721106"/>
            <a:ext cx="3076363" cy="511731"/>
          </a:xfrm>
          <a:prstGeom prst="rect">
            <a:avLst/>
          </a:prstGeom>
        </p:spPr>
        <p:txBody>
          <a:bodyPr vert="horz" lIns="94754" tIns="47377" rIns="94754" bIns="47377" rtlCol="0" anchor="b"/>
          <a:lstStyle>
            <a:lvl1pPr algn="r">
              <a:defRPr sz="1200"/>
            </a:lvl1pPr>
          </a:lstStyle>
          <a:p>
            <a:fld id="{58807EA6-0398-4990-8029-A74DB741225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6647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1pPr>
    <a:lvl2pPr marL="610956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2pPr>
    <a:lvl3pPr marL="1221913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3pPr>
    <a:lvl4pPr marL="1832869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4pPr>
    <a:lvl5pPr marL="2443825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5pPr>
    <a:lvl6pPr marL="3054782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6pPr>
    <a:lvl7pPr marL="3665738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7pPr>
    <a:lvl8pPr marL="4276695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8pPr>
    <a:lvl9pPr marL="4887651" algn="l" defTabSz="1221913" rtl="0" eaLnBrk="1" latinLnBrk="0" hangingPunct="1">
      <a:defRPr kumimoji="1" sz="160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9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12.svg"/><Relationship Id="rId7" Type="http://schemas.openxmlformats.org/officeDocument/2006/relationships/image" Target="../media/image9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14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4960F-6866-90E1-C54B-CF9EAC4F4A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95500"/>
            <a:ext cx="7200900" cy="4456113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F4751B-CFE3-1C45-E8F4-A3831384BA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6723063"/>
            <a:ext cx="7200900" cy="30908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28501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9B586788-B768-A67F-B5F0-704A3439CB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951" b="312"/>
          <a:stretch/>
        </p:blipFill>
        <p:spPr>
          <a:xfrm>
            <a:off x="7699008" y="3458030"/>
            <a:ext cx="1902192" cy="934357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3A9D0E5-DB21-EB6F-1DEE-5FDD323EB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696" y="2106593"/>
            <a:ext cx="4046408" cy="2822162"/>
          </a:xfrm>
        </p:spPr>
        <p:txBody>
          <a:bodyPr lIns="0" anchor="ctr">
            <a:noAutofit/>
          </a:bodyPr>
          <a:lstStyle>
            <a:lvl1pPr marL="0" marR="0" indent="0" algn="l">
              <a:lnSpc>
                <a:spcPct val="107000"/>
              </a:lnSpc>
              <a:spcBef>
                <a:spcPts val="0"/>
              </a:spcBef>
              <a:spcAft>
                <a:spcPts val="988"/>
              </a:spcAft>
              <a:buFont typeface="Arial" panose="020B0604020202020204" pitchFamily="34" charset="0"/>
              <a:buNone/>
              <a:defRPr sz="3953" b="0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SIT ORA</a:t>
            </a:r>
            <a:br>
              <a:rPr lang="en-US" dirty="0"/>
            </a:br>
            <a:r>
              <a:rPr lang="en-US" dirty="0"/>
              <a:t>DOLOR </a:t>
            </a:r>
            <a:br>
              <a:rPr lang="en-US" dirty="0"/>
            </a:br>
            <a:r>
              <a:rPr lang="en-US" dirty="0"/>
              <a:t>SIT EIUS MOD TEMP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FFA0662-A839-2A71-A7E9-9C740BED7A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11414014"/>
            <a:ext cx="827153" cy="138758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7B0E2049-324C-B023-CD78-6DC23962FB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3576" y="11578139"/>
            <a:ext cx="2346575" cy="835535"/>
          </a:xfrm>
          <a:prstGeom prst="rect">
            <a:avLst/>
          </a:prstGeom>
        </p:spPr>
      </p:pic>
      <p:sp>
        <p:nvSpPr>
          <p:cNvPr id="245" name="Freeform 244">
            <a:extLst>
              <a:ext uri="{FF2B5EF4-FFF2-40B4-BE49-F238E27FC236}">
                <a16:creationId xmlns:a16="http://schemas.microsoft.com/office/drawing/2014/main" id="{4E985A05-22F4-8FFF-38F4-073DEEBCF4CF}"/>
              </a:ext>
            </a:extLst>
          </p:cNvPr>
          <p:cNvSpPr/>
          <p:nvPr userDrawn="1"/>
        </p:nvSpPr>
        <p:spPr>
          <a:xfrm>
            <a:off x="2813106" y="575115"/>
            <a:ext cx="6790650" cy="11317282"/>
          </a:xfrm>
          <a:custGeom>
            <a:avLst/>
            <a:gdLst>
              <a:gd name="connsiteX0" fmla="*/ 2088724 w 6218177"/>
              <a:gd name="connsiteY0" fmla="*/ 1569913 h 10058400"/>
              <a:gd name="connsiteX1" fmla="*/ 2673005 w 6218177"/>
              <a:gd name="connsiteY1" fmla="*/ 2510778 h 10058400"/>
              <a:gd name="connsiteX2" fmla="*/ 2258436 w 6218177"/>
              <a:gd name="connsiteY2" fmla="*/ 3174225 h 10058400"/>
              <a:gd name="connsiteX3" fmla="*/ 2259073 w 6218177"/>
              <a:gd name="connsiteY3" fmla="*/ 3174225 h 10058400"/>
              <a:gd name="connsiteX4" fmla="*/ 2089042 w 6218177"/>
              <a:gd name="connsiteY4" fmla="*/ 3275191 h 10058400"/>
              <a:gd name="connsiteX5" fmla="*/ 1919011 w 6218177"/>
              <a:gd name="connsiteY5" fmla="*/ 3174225 h 10058400"/>
              <a:gd name="connsiteX6" fmla="*/ 1504442 w 6218177"/>
              <a:gd name="connsiteY6" fmla="*/ 2510778 h 10058400"/>
              <a:gd name="connsiteX7" fmla="*/ 4484756 w 6218177"/>
              <a:gd name="connsiteY7" fmla="*/ 1 h 10058400"/>
              <a:gd name="connsiteX8" fmla="*/ 6218177 w 6218177"/>
              <a:gd name="connsiteY8" fmla="*/ 1 h 10058400"/>
              <a:gd name="connsiteX9" fmla="*/ 6218177 w 6218177"/>
              <a:gd name="connsiteY9" fmla="*/ 10058400 h 10058400"/>
              <a:gd name="connsiteX10" fmla="*/ 2210357 w 6218177"/>
              <a:gd name="connsiteY10" fmla="*/ 3641472 h 10058400"/>
              <a:gd name="connsiteX11" fmla="*/ 3124511 w 6218177"/>
              <a:gd name="connsiteY11" fmla="*/ 1 h 10058400"/>
              <a:gd name="connsiteX12" fmla="*/ 4096615 w 6218177"/>
              <a:gd name="connsiteY12" fmla="*/ 1 h 10058400"/>
              <a:gd name="connsiteX13" fmla="*/ 4164436 w 6218177"/>
              <a:gd name="connsiteY13" fmla="*/ 122626 h 10058400"/>
              <a:gd name="connsiteX14" fmla="*/ 2792728 w 6218177"/>
              <a:gd name="connsiteY14" fmla="*/ 2318719 h 10058400"/>
              <a:gd name="connsiteX15" fmla="*/ 2208128 w 6218177"/>
              <a:gd name="connsiteY15" fmla="*/ 1377537 h 10058400"/>
              <a:gd name="connsiteX16" fmla="*/ 3031535 w 6218177"/>
              <a:gd name="connsiteY16" fmla="*/ 51917 h 10058400"/>
              <a:gd name="connsiteX17" fmla="*/ 3124511 w 6218177"/>
              <a:gd name="connsiteY17" fmla="*/ 1 h 10058400"/>
              <a:gd name="connsiteX18" fmla="*/ 80197 w 6218177"/>
              <a:gd name="connsiteY18" fmla="*/ 0 h 10058400"/>
              <a:gd name="connsiteX19" fmla="*/ 1052301 w 6218177"/>
              <a:gd name="connsiteY19" fmla="*/ 0 h 10058400"/>
              <a:gd name="connsiteX20" fmla="*/ 1145277 w 6218177"/>
              <a:gd name="connsiteY20" fmla="*/ 51916 h 10058400"/>
              <a:gd name="connsiteX21" fmla="*/ 1968684 w 6218177"/>
              <a:gd name="connsiteY21" fmla="*/ 1377536 h 10058400"/>
              <a:gd name="connsiteX22" fmla="*/ 1384084 w 6218177"/>
              <a:gd name="connsiteY22" fmla="*/ 2318719 h 10058400"/>
              <a:gd name="connsiteX23" fmla="*/ 12376 w 6218177"/>
              <a:gd name="connsiteY23" fmla="*/ 122625 h 10058400"/>
              <a:gd name="connsiteX24" fmla="*/ 80197 w 6218177"/>
              <a:gd name="connsiteY24" fmla="*/ 0 h 1005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218177" h="10058400">
                <a:moveTo>
                  <a:pt x="2088724" y="1569913"/>
                </a:moveTo>
                <a:lnTo>
                  <a:pt x="2673005" y="2510778"/>
                </a:lnTo>
                <a:lnTo>
                  <a:pt x="2258436" y="3174225"/>
                </a:lnTo>
                <a:lnTo>
                  <a:pt x="2259073" y="3174225"/>
                </a:lnTo>
                <a:cubicBezTo>
                  <a:pt x="2218953" y="3239837"/>
                  <a:pt x="2154316" y="3273599"/>
                  <a:pt x="2089042" y="3275191"/>
                </a:cubicBezTo>
                <a:cubicBezTo>
                  <a:pt x="2023768" y="3273599"/>
                  <a:pt x="1959131" y="3239837"/>
                  <a:pt x="1919011" y="3174225"/>
                </a:cubicBezTo>
                <a:lnTo>
                  <a:pt x="1504442" y="2510778"/>
                </a:lnTo>
                <a:close/>
                <a:moveTo>
                  <a:pt x="4484756" y="1"/>
                </a:moveTo>
                <a:lnTo>
                  <a:pt x="6218177" y="1"/>
                </a:lnTo>
                <a:lnTo>
                  <a:pt x="6218177" y="10058400"/>
                </a:lnTo>
                <a:lnTo>
                  <a:pt x="2210357" y="3641472"/>
                </a:lnTo>
                <a:close/>
                <a:moveTo>
                  <a:pt x="3124511" y="1"/>
                </a:moveTo>
                <a:lnTo>
                  <a:pt x="4096615" y="1"/>
                </a:lnTo>
                <a:cubicBezTo>
                  <a:pt x="4159342" y="1"/>
                  <a:pt x="4197869" y="69117"/>
                  <a:pt x="4164436" y="122626"/>
                </a:cubicBezTo>
                <a:lnTo>
                  <a:pt x="2792728" y="2318719"/>
                </a:lnTo>
                <a:lnTo>
                  <a:pt x="2208128" y="1377537"/>
                </a:lnTo>
                <a:lnTo>
                  <a:pt x="3031535" y="51917"/>
                </a:lnTo>
                <a:cubicBezTo>
                  <a:pt x="3051276" y="19748"/>
                  <a:pt x="3086620" y="1"/>
                  <a:pt x="3124511" y="1"/>
                </a:cubicBezTo>
                <a:close/>
                <a:moveTo>
                  <a:pt x="80197" y="0"/>
                </a:moveTo>
                <a:lnTo>
                  <a:pt x="1052301" y="0"/>
                </a:lnTo>
                <a:cubicBezTo>
                  <a:pt x="1090192" y="0"/>
                  <a:pt x="1125217" y="19747"/>
                  <a:pt x="1145277" y="51916"/>
                </a:cubicBezTo>
                <a:lnTo>
                  <a:pt x="1968684" y="1377536"/>
                </a:lnTo>
                <a:lnTo>
                  <a:pt x="1384084" y="2318719"/>
                </a:lnTo>
                <a:lnTo>
                  <a:pt x="12376" y="122625"/>
                </a:lnTo>
                <a:cubicBezTo>
                  <a:pt x="-21057" y="69116"/>
                  <a:pt x="17152" y="0"/>
                  <a:pt x="80197" y="0"/>
                </a:cubicBezTo>
                <a:close/>
              </a:path>
            </a:pathLst>
          </a:cu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5528" t="-35647" r="-63196" b="-33503"/>
            </a:stretch>
          </a:blipFill>
          <a:ln w="31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971" dirty="0"/>
          </a:p>
        </p:txBody>
      </p:sp>
      <p:sp>
        <p:nvSpPr>
          <p:cNvPr id="247" name="Title 1">
            <a:extLst>
              <a:ext uri="{FF2B5EF4-FFF2-40B4-BE49-F238E27FC236}">
                <a16:creationId xmlns:a16="http://schemas.microsoft.com/office/drawing/2014/main" id="{E91BC39B-8088-06E9-731C-B1BE5488C48A}"/>
              </a:ext>
            </a:extLst>
          </p:cNvPr>
          <p:cNvSpPr txBox="1">
            <a:spLocks/>
          </p:cNvSpPr>
          <p:nvPr userDrawn="1"/>
        </p:nvSpPr>
        <p:spPr>
          <a:xfrm>
            <a:off x="414611" y="1605725"/>
            <a:ext cx="4046408" cy="500868"/>
          </a:xfrm>
          <a:prstGeom prst="rect">
            <a:avLst/>
          </a:prstGeom>
        </p:spPr>
        <p:txBody>
          <a:bodyPr vert="horz" lIns="112955" tIns="56478" rIns="112955" bIns="56478" rtlCol="0" anchor="ctr">
            <a:noAutofit/>
          </a:bodyPr>
          <a:lstStyle>
            <a:lvl1pPr marL="0" marR="0" indent="0" algn="l" defTabSz="582927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51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accent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indent="0">
              <a:spcAft>
                <a:spcPts val="988"/>
              </a:spcAft>
              <a:tabLst>
                <a:tab pos="2880767" algn="l"/>
              </a:tabLst>
            </a:pPr>
            <a:endParaRPr lang="en-US" sz="2471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2" name="Text Placeholder 251">
            <a:extLst>
              <a:ext uri="{FF2B5EF4-FFF2-40B4-BE49-F238E27FC236}">
                <a16:creationId xmlns:a16="http://schemas.microsoft.com/office/drawing/2014/main" id="{6B92DB0E-13A5-8866-8A0E-7819BA19D96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8863" y="1605725"/>
            <a:ext cx="3288646" cy="487176"/>
          </a:xfrm>
        </p:spPr>
        <p:txBody>
          <a:bodyPr lIns="0">
            <a:normAutofit/>
          </a:bodyPr>
          <a:lstStyle>
            <a:lvl1pPr marL="0" indent="0">
              <a:buNone/>
              <a:defRPr sz="2471"/>
            </a:lvl1pPr>
          </a:lstStyle>
          <a:p>
            <a:pPr lvl="0"/>
            <a:r>
              <a:rPr lang="en-US" dirty="0"/>
              <a:t>Lorem ipsum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69B867B-9C8B-45AD-246E-8C5073213957}"/>
              </a:ext>
            </a:extLst>
          </p:cNvPr>
          <p:cNvSpPr txBox="1"/>
          <p:nvPr userDrawn="1"/>
        </p:nvSpPr>
        <p:spPr>
          <a:xfrm>
            <a:off x="7581456" y="11955409"/>
            <a:ext cx="1468415" cy="297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1482" b="1" i="0" dirty="0" err="1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1482" b="1" i="0" dirty="0">
              <a:solidFill>
                <a:schemeClr val="accent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57" name="Text Placeholder 5">
            <a:extLst>
              <a:ext uri="{FF2B5EF4-FFF2-40B4-BE49-F238E27FC236}">
                <a16:creationId xmlns:a16="http://schemas.microsoft.com/office/drawing/2014/main" id="{04664CDE-EA39-A54E-3067-5B2953032C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9695" y="5189563"/>
            <a:ext cx="5548593" cy="1498500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OUR VALUES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br>
              <a:rPr lang="en-US" dirty="0"/>
            </a:b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psumEfactus</a:t>
            </a:r>
            <a:r>
              <a:rPr lang="en-US" dirty="0"/>
              <a:t> et L. </a:t>
            </a:r>
            <a:r>
              <a:rPr lang="en-US" dirty="0" err="1"/>
              <a:t>Habusperis</a:t>
            </a:r>
            <a:r>
              <a:rPr lang="en-US" dirty="0"/>
              <a:t>? que cones! Simis </a:t>
            </a:r>
            <a:br>
              <a:rPr lang="en-US" dirty="0"/>
            </a:br>
            <a:r>
              <a:rPr lang="en-US" dirty="0" err="1"/>
              <a:t>confir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esimo</a:t>
            </a:r>
            <a:r>
              <a:rPr lang="en-US" dirty="0"/>
              <a:t> </a:t>
            </a:r>
            <a:r>
              <a:rPr lang="en-US" dirty="0" err="1"/>
              <a:t>intem</a:t>
            </a:r>
            <a:r>
              <a:rPr lang="en-US" dirty="0"/>
              <a:t> </a:t>
            </a:r>
            <a:r>
              <a:rPr lang="en-US" dirty="0" err="1"/>
              <a:t>horio</a:t>
            </a:r>
            <a:r>
              <a:rPr lang="en-US" dirty="0"/>
              <a:t> </a:t>
            </a:r>
            <a:r>
              <a:rPr lang="en-US" dirty="0" err="1"/>
              <a:t>acci</a:t>
            </a:r>
            <a:r>
              <a:rPr lang="en-US" dirty="0"/>
              <a:t> </a:t>
            </a:r>
            <a:r>
              <a:rPr lang="en-US" dirty="0" err="1"/>
              <a:t>senatabut</a:t>
            </a:r>
            <a:r>
              <a:rPr lang="en-US" dirty="0"/>
              <a:t> vermis. </a:t>
            </a:r>
            <a:r>
              <a:rPr lang="en-US" dirty="0" err="1"/>
              <a:t>Moerenstra</a:t>
            </a:r>
            <a:r>
              <a:rPr lang="en-US" dirty="0"/>
              <a:t> L. </a:t>
            </a:r>
            <a:r>
              <a:rPr lang="en-US" dirty="0" err="1"/>
              <a:t>Fu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60" name="Text Placeholder 5">
            <a:extLst>
              <a:ext uri="{FF2B5EF4-FFF2-40B4-BE49-F238E27FC236}">
                <a16:creationId xmlns:a16="http://schemas.microsoft.com/office/drawing/2014/main" id="{05840F7E-2E09-BA79-4099-04804C1F1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695" y="7093352"/>
            <a:ext cx="6277797" cy="1966468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  <a:br>
              <a:rPr lang="en-US" dirty="0"/>
            </a:br>
            <a:endParaRPr lang="en-US" dirty="0"/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lla </a:t>
            </a:r>
            <a:r>
              <a:rPr lang="en-GB" dirty="0" err="1"/>
              <a:t>conc</a:t>
            </a:r>
            <a:r>
              <a:rPr lang="en-GB" dirty="0"/>
              <a:t> </a:t>
            </a:r>
            <a:r>
              <a:rPr lang="en-GB" dirty="0" err="1"/>
              <a:t>tericaudem</a:t>
            </a:r>
            <a:r>
              <a:rPr lang="en-GB" dirty="0"/>
              <a:t> </a:t>
            </a:r>
            <a:r>
              <a:rPr lang="en-GB" dirty="0" err="1"/>
              <a:t>nonfiriore</a:t>
            </a:r>
            <a:r>
              <a:rPr lang="en-GB" dirty="0"/>
              <a:t> </a:t>
            </a:r>
            <a:r>
              <a:rPr lang="en-GB" dirty="0" err="1"/>
              <a:t>quem</a:t>
            </a:r>
            <a:r>
              <a:rPr lang="en-GB" dirty="0"/>
              <a:t> </a:t>
            </a:r>
            <a:r>
              <a:rPr lang="en-GB" dirty="0" err="1"/>
              <a:t>siliam</a:t>
            </a:r>
            <a:r>
              <a:rPr lang="en-GB" dirty="0"/>
              <a:t> </a:t>
            </a:r>
            <a:r>
              <a:rPr lang="en-GB" dirty="0" err="1"/>
              <a:t>hostati</a:t>
            </a:r>
            <a:r>
              <a:rPr lang="en-GB" dirty="0"/>
              <a:t> </a:t>
            </a:r>
            <a:r>
              <a:rPr lang="en-GB" dirty="0" err="1"/>
              <a:t>linata</a:t>
            </a:r>
            <a:r>
              <a:rPr lang="en-GB" dirty="0"/>
              <a:t> </a:t>
            </a:r>
            <a:r>
              <a:rPr lang="en-GB" dirty="0" err="1"/>
              <a:t>quitum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notissit</a:t>
            </a:r>
            <a:r>
              <a:rPr lang="en-GB" dirty="0"/>
              <a:t> </a:t>
            </a:r>
            <a:r>
              <a:rPr lang="en-GB" dirty="0" err="1"/>
              <a:t>atu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notebat</a:t>
            </a:r>
            <a:r>
              <a:rPr lang="en-GB" dirty="0"/>
              <a:t> </a:t>
            </a:r>
            <a:r>
              <a:rPr lang="en-GB" dirty="0" err="1"/>
              <a:t>urbit</a:t>
            </a:r>
            <a:r>
              <a:rPr lang="en-GB" dirty="0"/>
              <a:t>. </a:t>
            </a:r>
            <a:r>
              <a:rPr lang="en-GB" dirty="0" err="1"/>
              <a:t>Nostrenam</a:t>
            </a:r>
            <a:r>
              <a:rPr lang="en-GB" dirty="0"/>
              <a:t> </a:t>
            </a:r>
            <a:r>
              <a:rPr lang="en-GB" dirty="0" err="1"/>
              <a:t>ununcle</a:t>
            </a:r>
            <a:r>
              <a:rPr lang="en-GB" dirty="0"/>
              <a:t> </a:t>
            </a:r>
            <a:r>
              <a:rPr lang="en-GB" dirty="0" err="1"/>
              <a:t>gilicienius</a:t>
            </a:r>
            <a:r>
              <a:rPr lang="en-GB" dirty="0"/>
              <a:t> </a:t>
            </a:r>
            <a:r>
              <a:rPr lang="en-GB" dirty="0" err="1"/>
              <a:t>rebefacia</a:t>
            </a:r>
            <a:r>
              <a:rPr lang="en-GB" dirty="0"/>
              <a:t>? </a:t>
            </a:r>
            <a:r>
              <a:rPr lang="en-GB" dirty="0" err="1"/>
              <a:t>Iquam</a:t>
            </a:r>
            <a:r>
              <a:rPr lang="en-GB" dirty="0"/>
              <a:t>, </a:t>
            </a:r>
            <a:r>
              <a:rPr lang="en-GB" dirty="0" err="1"/>
              <a:t>ipiemum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obsenatius</a:t>
            </a:r>
            <a:r>
              <a:rPr lang="en-GB" dirty="0"/>
              <a:t> </a:t>
            </a:r>
            <a:r>
              <a:rPr lang="en-GB" dirty="0" err="1"/>
              <a:t>furniquam</a:t>
            </a:r>
            <a:r>
              <a:rPr lang="en-GB" dirty="0"/>
              <a:t>, </a:t>
            </a:r>
            <a:r>
              <a:rPr lang="en-GB" dirty="0" err="1"/>
              <a:t>nonsis</a:t>
            </a:r>
            <a:r>
              <a:rPr lang="en-GB" dirty="0"/>
              <a:t> </a:t>
            </a:r>
            <a:r>
              <a:rPr lang="en-GB" dirty="0" err="1"/>
              <a:t>clus</a:t>
            </a:r>
            <a:r>
              <a:rPr lang="en-GB" dirty="0"/>
              <a:t> </a:t>
            </a:r>
            <a:r>
              <a:rPr lang="en-GB" dirty="0" err="1"/>
              <a:t>nos.Noverce</a:t>
            </a:r>
            <a:r>
              <a:rPr lang="en-GB" dirty="0"/>
              <a:t> </a:t>
            </a:r>
            <a:r>
              <a:rPr lang="en-GB" dirty="0" err="1"/>
              <a:t>natque</a:t>
            </a:r>
            <a:r>
              <a:rPr lang="en-GB" dirty="0"/>
              <a:t> con </a:t>
            </a:r>
            <a:r>
              <a:rPr lang="en-GB" dirty="0" err="1"/>
              <a:t>iam</a:t>
            </a:r>
            <a:r>
              <a:rPr lang="en-GB" dirty="0"/>
              <a:t> quo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habus </a:t>
            </a:r>
            <a:r>
              <a:rPr lang="en-GB" dirty="0" err="1"/>
              <a:t>verfex</a:t>
            </a:r>
            <a:r>
              <a:rPr lang="en-GB" dirty="0"/>
              <a:t> sum </a:t>
            </a:r>
            <a:r>
              <a:rPr lang="en-GB" dirty="0" err="1"/>
              <a:t>nox</a:t>
            </a:r>
            <a:r>
              <a:rPr lang="en-GB" dirty="0"/>
              <a:t> </a:t>
            </a:r>
            <a:r>
              <a:rPr lang="en-GB" dirty="0" err="1"/>
              <a:t>moena</a:t>
            </a:r>
            <a:r>
              <a:rPr lang="en-GB" dirty="0"/>
              <a:t> o </a:t>
            </a:r>
            <a:r>
              <a:rPr lang="en-GB" dirty="0" err="1"/>
              <a:t>condam</a:t>
            </a:r>
            <a:r>
              <a:rPr lang="en-GB" dirty="0"/>
              <a:t> </a:t>
            </a:r>
            <a:r>
              <a:rPr lang="en-GB" dirty="0" err="1"/>
              <a:t>nons</a:t>
            </a:r>
            <a:r>
              <a:rPr lang="en-GB" dirty="0"/>
              <a:t>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ingul</a:t>
            </a:r>
            <a:r>
              <a:rPr lang="en-GB" dirty="0"/>
              <a:t> </a:t>
            </a:r>
            <a:r>
              <a:rPr lang="en-GB" dirty="0" err="1"/>
              <a:t>horisse</a:t>
            </a:r>
            <a:r>
              <a:rPr lang="en-GB" dirty="0"/>
              <a:t> </a:t>
            </a:r>
            <a:r>
              <a:rPr lang="en-GB" dirty="0" err="1"/>
              <a:t>nterceps</a:t>
            </a:r>
            <a:r>
              <a:rPr lang="en-GB" dirty="0"/>
              <a:t>,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niu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 </a:t>
            </a:r>
            <a:r>
              <a:rPr lang="en-GB" dirty="0" err="1"/>
              <a:t>etod</a:t>
            </a:r>
            <a:r>
              <a:rPr lang="en-GB" dirty="0"/>
              <a:t> di senate </a:t>
            </a:r>
            <a:r>
              <a:rPr lang="en-GB" dirty="0" err="1"/>
              <a:t>licavo</a:t>
            </a:r>
            <a:r>
              <a:rPr lang="en-GB" dirty="0"/>
              <a:t>, </a:t>
            </a:r>
            <a:r>
              <a:rPr lang="en-GB" dirty="0" err="1"/>
              <a:t>clatat</a:t>
            </a:r>
            <a:r>
              <a:rPr lang="en-GB" dirty="0"/>
              <a:t>.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psumEfactus</a:t>
            </a:r>
            <a:r>
              <a:rPr lang="en-US" dirty="0"/>
              <a:t> et L. </a:t>
            </a:r>
            <a:r>
              <a:rPr lang="en-US" dirty="0" err="1"/>
              <a:t>Habusperis</a:t>
            </a:r>
            <a:r>
              <a:rPr lang="en-US" dirty="0"/>
              <a:t>.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261" name="Text Placeholder 5">
            <a:extLst>
              <a:ext uri="{FF2B5EF4-FFF2-40B4-BE49-F238E27FC236}">
                <a16:creationId xmlns:a16="http://schemas.microsoft.com/office/drawing/2014/main" id="{64556BFB-F300-57FC-A62D-3AD7A041714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9695" y="9465110"/>
            <a:ext cx="7478840" cy="1725103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PRODUCT INFORMATION</a:t>
            </a:r>
            <a:br>
              <a:rPr lang="en-US" dirty="0"/>
            </a:br>
            <a:endParaRPr lang="en-US" dirty="0"/>
          </a:p>
          <a:p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peris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be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ihin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il</a:t>
            </a:r>
            <a:r>
              <a:rPr lang="en-US" dirty="0">
                <a:effectLst/>
                <a:latin typeface="Helvetica Neue" panose="02000503000000020004" pitchFamily="2" charset="0"/>
              </a:rPr>
              <a:t> vo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e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ri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ati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uid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25410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A288B5B-D1B3-7C59-90C2-1DB50A938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t="22019" r="4530" b="3109"/>
          <a:stretch/>
        </p:blipFill>
        <p:spPr>
          <a:xfrm flipH="1">
            <a:off x="-4864" y="0"/>
            <a:ext cx="9601199" cy="128016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3A9D0E5-DB21-EB6F-1DEE-5FDD323EB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695" y="2106594"/>
            <a:ext cx="8193747" cy="1437453"/>
          </a:xfrm>
        </p:spPr>
        <p:txBody>
          <a:bodyPr lIns="0" anchor="ctr">
            <a:noAutofit/>
          </a:bodyPr>
          <a:lstStyle>
            <a:lvl1pPr marL="0" marR="0" indent="0" algn="l">
              <a:lnSpc>
                <a:spcPct val="107000"/>
              </a:lnSpc>
              <a:spcBef>
                <a:spcPts val="0"/>
              </a:spcBef>
              <a:spcAft>
                <a:spcPts val="988"/>
              </a:spcAft>
              <a:buFont typeface="Arial" panose="020B0604020202020204" pitchFamily="34" charset="0"/>
              <a:buNone/>
              <a:defRPr sz="3953" b="0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SIT ORA DOLOR EIUS MOD TEMP DO EIUSMOD TEMP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FFA0662-A839-2A71-A7E9-9C740BED7A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11414014"/>
            <a:ext cx="827153" cy="138758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7B0E2049-324C-B023-CD78-6DC23962FB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27313" y="354317"/>
            <a:ext cx="2346575" cy="835535"/>
          </a:xfrm>
          <a:prstGeom prst="rect">
            <a:avLst/>
          </a:prstGeom>
        </p:spPr>
      </p:pic>
      <p:sp>
        <p:nvSpPr>
          <p:cNvPr id="247" name="Title 1">
            <a:extLst>
              <a:ext uri="{FF2B5EF4-FFF2-40B4-BE49-F238E27FC236}">
                <a16:creationId xmlns:a16="http://schemas.microsoft.com/office/drawing/2014/main" id="{E91BC39B-8088-06E9-731C-B1BE5488C48A}"/>
              </a:ext>
            </a:extLst>
          </p:cNvPr>
          <p:cNvSpPr txBox="1">
            <a:spLocks/>
          </p:cNvSpPr>
          <p:nvPr userDrawn="1"/>
        </p:nvSpPr>
        <p:spPr>
          <a:xfrm>
            <a:off x="414611" y="1605725"/>
            <a:ext cx="4046408" cy="500868"/>
          </a:xfrm>
          <a:prstGeom prst="rect">
            <a:avLst/>
          </a:prstGeom>
        </p:spPr>
        <p:txBody>
          <a:bodyPr vert="horz" lIns="112955" tIns="56478" rIns="112955" bIns="56478" rtlCol="0" anchor="ctr">
            <a:noAutofit/>
          </a:bodyPr>
          <a:lstStyle>
            <a:lvl1pPr marL="0" marR="0" indent="0" algn="l" defTabSz="582927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51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accent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indent="0">
              <a:spcAft>
                <a:spcPts val="988"/>
              </a:spcAft>
              <a:tabLst>
                <a:tab pos="2880767" algn="l"/>
              </a:tabLst>
            </a:pPr>
            <a:endParaRPr lang="en-US" sz="2471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2" name="Text Placeholder 251">
            <a:extLst>
              <a:ext uri="{FF2B5EF4-FFF2-40B4-BE49-F238E27FC236}">
                <a16:creationId xmlns:a16="http://schemas.microsoft.com/office/drawing/2014/main" id="{6B92DB0E-13A5-8866-8A0E-7819BA19D96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8863" y="1610846"/>
            <a:ext cx="8193747" cy="487176"/>
          </a:xfrm>
        </p:spPr>
        <p:txBody>
          <a:bodyPr lIns="0">
            <a:normAutofit/>
          </a:bodyPr>
          <a:lstStyle>
            <a:lvl1pPr marL="0" indent="0">
              <a:buNone/>
              <a:defRPr sz="2471"/>
            </a:lvl1pPr>
          </a:lstStyle>
          <a:p>
            <a:pPr lvl="0"/>
            <a:r>
              <a:rPr lang="en-US" dirty="0"/>
              <a:t>Lorem ipsum sit dolor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69B867B-9C8B-45AD-246E-8C5073213957}"/>
              </a:ext>
            </a:extLst>
          </p:cNvPr>
          <p:cNvSpPr txBox="1"/>
          <p:nvPr userDrawn="1"/>
        </p:nvSpPr>
        <p:spPr>
          <a:xfrm>
            <a:off x="4090199" y="11955409"/>
            <a:ext cx="1468415" cy="297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1482" b="1" i="0" dirty="0" err="1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1482" b="1" i="0" dirty="0">
              <a:solidFill>
                <a:schemeClr val="accent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57" name="Text Placeholder 5">
            <a:extLst>
              <a:ext uri="{FF2B5EF4-FFF2-40B4-BE49-F238E27FC236}">
                <a16:creationId xmlns:a16="http://schemas.microsoft.com/office/drawing/2014/main" id="{04664CDE-EA39-A54E-3067-5B2953032C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9696" y="5189563"/>
            <a:ext cx="8193745" cy="1498500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MPANY FACTS</a:t>
            </a:r>
            <a:br>
              <a:rPr lang="en-US" dirty="0"/>
            </a:br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peris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be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ihin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il</a:t>
            </a:r>
            <a:r>
              <a:rPr lang="en-US" dirty="0">
                <a:effectLst/>
                <a:latin typeface="Helvetica Neue" panose="02000503000000020004" pitchFamily="2" charset="0"/>
              </a:rPr>
              <a:t> vo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effectLst/>
                <a:latin typeface="Helvetica Neue" panose="02000503000000020004" pitchFamily="2" charset="0"/>
              </a:rPr>
              <a:t> 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e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ri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ati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uid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.</a:t>
            </a:r>
          </a:p>
          <a:p>
            <a:pPr lvl="0"/>
            <a:endParaRPr lang="en-GB" dirty="0"/>
          </a:p>
        </p:txBody>
      </p:sp>
      <p:sp>
        <p:nvSpPr>
          <p:cNvPr id="260" name="Text Placeholder 5">
            <a:extLst>
              <a:ext uri="{FF2B5EF4-FFF2-40B4-BE49-F238E27FC236}">
                <a16:creationId xmlns:a16="http://schemas.microsoft.com/office/drawing/2014/main" id="{05840F7E-2E09-BA79-4099-04804C1F1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83124" y="7644841"/>
            <a:ext cx="7410316" cy="1994700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lla </a:t>
            </a:r>
            <a:r>
              <a:rPr lang="en-GB" dirty="0" err="1"/>
              <a:t>conc</a:t>
            </a:r>
            <a:r>
              <a:rPr lang="en-GB" dirty="0"/>
              <a:t> </a:t>
            </a:r>
            <a:r>
              <a:rPr lang="en-GB" dirty="0" err="1"/>
              <a:t>tericaudem</a:t>
            </a:r>
            <a:r>
              <a:rPr lang="en-GB" dirty="0"/>
              <a:t> </a:t>
            </a:r>
            <a:r>
              <a:rPr lang="en-GB" dirty="0" err="1"/>
              <a:t>nonfiriore</a:t>
            </a:r>
            <a:r>
              <a:rPr lang="en-GB" dirty="0"/>
              <a:t> </a:t>
            </a:r>
            <a:r>
              <a:rPr lang="en-GB" dirty="0" err="1"/>
              <a:t>quem</a:t>
            </a:r>
            <a:r>
              <a:rPr lang="en-GB" dirty="0"/>
              <a:t> </a:t>
            </a:r>
            <a:r>
              <a:rPr lang="en-GB" dirty="0" err="1"/>
              <a:t>siliam</a:t>
            </a:r>
            <a:r>
              <a:rPr lang="en-GB" dirty="0"/>
              <a:t> </a:t>
            </a:r>
            <a:r>
              <a:rPr lang="en-GB" dirty="0" err="1"/>
              <a:t>hostati</a:t>
            </a:r>
            <a:r>
              <a:rPr lang="en-GB" dirty="0"/>
              <a:t> </a:t>
            </a:r>
            <a:r>
              <a:rPr lang="en-GB" dirty="0" err="1"/>
              <a:t>linata</a:t>
            </a:r>
            <a:r>
              <a:rPr lang="en-GB" dirty="0"/>
              <a:t> </a:t>
            </a:r>
            <a:r>
              <a:rPr lang="en-GB" dirty="0" err="1"/>
              <a:t>quitum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notissit</a:t>
            </a:r>
            <a:r>
              <a:rPr lang="en-GB" dirty="0"/>
              <a:t> </a:t>
            </a:r>
            <a:r>
              <a:rPr lang="en-GB" dirty="0" err="1"/>
              <a:t>atu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notebat</a:t>
            </a:r>
            <a:r>
              <a:rPr lang="en-GB" dirty="0"/>
              <a:t> </a:t>
            </a:r>
            <a:r>
              <a:rPr lang="en-GB" dirty="0" err="1"/>
              <a:t>urbit</a:t>
            </a:r>
            <a:r>
              <a:rPr lang="en-GB" dirty="0"/>
              <a:t>. </a:t>
            </a:r>
            <a:r>
              <a:rPr lang="en-GB" dirty="0" err="1"/>
              <a:t>Nostrenam</a:t>
            </a:r>
            <a:r>
              <a:rPr lang="en-GB" dirty="0"/>
              <a:t> </a:t>
            </a:r>
            <a:r>
              <a:rPr lang="en-GB" dirty="0" err="1"/>
              <a:t>ununcle</a:t>
            </a:r>
            <a:r>
              <a:rPr lang="en-GB" dirty="0"/>
              <a:t> </a:t>
            </a:r>
            <a:r>
              <a:rPr lang="en-GB" dirty="0" err="1"/>
              <a:t>gilicienius</a:t>
            </a:r>
            <a:r>
              <a:rPr lang="en-GB" dirty="0"/>
              <a:t> </a:t>
            </a:r>
            <a:r>
              <a:rPr lang="en-GB" dirty="0" err="1"/>
              <a:t>rebefacia</a:t>
            </a:r>
            <a:r>
              <a:rPr lang="en-GB" dirty="0"/>
              <a:t>.</a:t>
            </a:r>
            <a:br>
              <a:rPr lang="en-GB" dirty="0"/>
            </a:br>
            <a:endParaRPr lang="en-GB" dirty="0"/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Iquam</a:t>
            </a:r>
            <a:r>
              <a:rPr lang="en-GB" dirty="0"/>
              <a:t>, </a:t>
            </a:r>
            <a:r>
              <a:rPr lang="en-GB" dirty="0" err="1"/>
              <a:t>ipiemum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obsenatius</a:t>
            </a:r>
            <a:r>
              <a:rPr lang="en-GB" dirty="0"/>
              <a:t> </a:t>
            </a:r>
            <a:r>
              <a:rPr lang="en-GB" dirty="0" err="1"/>
              <a:t>furniquam</a:t>
            </a:r>
            <a:r>
              <a:rPr lang="en-GB" dirty="0"/>
              <a:t>, </a:t>
            </a:r>
            <a:r>
              <a:rPr lang="en-GB" dirty="0" err="1"/>
              <a:t>nonsis</a:t>
            </a:r>
            <a:r>
              <a:rPr lang="en-GB" dirty="0"/>
              <a:t> </a:t>
            </a:r>
            <a:r>
              <a:rPr lang="en-GB" dirty="0" err="1"/>
              <a:t>clus</a:t>
            </a:r>
            <a:r>
              <a:rPr lang="en-GB" dirty="0"/>
              <a:t> </a:t>
            </a:r>
            <a:r>
              <a:rPr lang="en-GB" dirty="0" err="1"/>
              <a:t>nos.Noverce</a:t>
            </a:r>
            <a:r>
              <a:rPr lang="en-GB" dirty="0"/>
              <a:t> </a:t>
            </a:r>
            <a:r>
              <a:rPr lang="en-GB" dirty="0" err="1"/>
              <a:t>natque</a:t>
            </a:r>
            <a:r>
              <a:rPr lang="en-GB" dirty="0"/>
              <a:t> con </a:t>
            </a:r>
            <a:r>
              <a:rPr lang="en-GB" dirty="0" err="1"/>
              <a:t>iam</a:t>
            </a:r>
            <a:r>
              <a:rPr lang="en-GB" dirty="0"/>
              <a:t> quo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habus </a:t>
            </a:r>
            <a:r>
              <a:rPr lang="en-GB" dirty="0" err="1"/>
              <a:t>verfex</a:t>
            </a:r>
            <a:r>
              <a:rPr lang="en-GB" dirty="0"/>
              <a:t> sum </a:t>
            </a:r>
            <a:r>
              <a:rPr lang="en-GB" dirty="0" err="1"/>
              <a:t>nox</a:t>
            </a:r>
            <a:r>
              <a:rPr lang="en-GB" dirty="0"/>
              <a:t> </a:t>
            </a:r>
            <a:r>
              <a:rPr lang="en-GB" dirty="0" err="1"/>
              <a:t>moena</a:t>
            </a:r>
            <a:r>
              <a:rPr lang="en-GB" dirty="0"/>
              <a:t> o </a:t>
            </a:r>
            <a:r>
              <a:rPr lang="en-GB" dirty="0" err="1"/>
              <a:t>condam</a:t>
            </a:r>
            <a:r>
              <a:rPr lang="en-GB" dirty="0"/>
              <a:t> </a:t>
            </a:r>
            <a:r>
              <a:rPr lang="en-GB" dirty="0" err="1"/>
              <a:t>nons</a:t>
            </a:r>
            <a:r>
              <a:rPr lang="en-GB" dirty="0"/>
              <a:t>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ingul</a:t>
            </a:r>
            <a:r>
              <a:rPr lang="en-GB" dirty="0"/>
              <a:t> </a:t>
            </a:r>
            <a:r>
              <a:rPr lang="en-GB" dirty="0" err="1"/>
              <a:t>horisse</a:t>
            </a:r>
            <a:r>
              <a:rPr lang="en-GB" dirty="0"/>
              <a:t> </a:t>
            </a:r>
            <a:r>
              <a:rPr lang="en-GB" dirty="0" err="1"/>
              <a:t>nterceps</a:t>
            </a:r>
            <a:r>
              <a:rPr lang="en-GB" dirty="0"/>
              <a:t>,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niu</a:t>
            </a:r>
            <a:r>
              <a:rPr lang="en-GB" dirty="0"/>
              <a:t> </a:t>
            </a:r>
            <a:r>
              <a:rPr lang="en-GB" dirty="0" err="1"/>
              <a:t>cus</a:t>
            </a:r>
            <a:r>
              <a:rPr lang="en-GB" dirty="0"/>
              <a:t> </a:t>
            </a:r>
            <a:r>
              <a:rPr lang="en-GB" dirty="0" err="1"/>
              <a:t>etod</a:t>
            </a:r>
            <a:r>
              <a:rPr lang="en-GB" dirty="0"/>
              <a:t> di senate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Licavo</a:t>
            </a:r>
            <a:r>
              <a:rPr lang="en-GB" dirty="0"/>
              <a:t>, </a:t>
            </a:r>
            <a:r>
              <a:rPr lang="en-GB" dirty="0" err="1"/>
              <a:t>clatat</a:t>
            </a:r>
            <a:r>
              <a:rPr lang="en-GB" dirty="0"/>
              <a:t>.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Quis</a:t>
            </a:r>
            <a:r>
              <a:rPr lang="en-US" dirty="0"/>
              <a:t> ipsum </a:t>
            </a:r>
            <a:r>
              <a:rPr lang="en-US" dirty="0" err="1"/>
              <a:t>efactus</a:t>
            </a:r>
            <a:r>
              <a:rPr lang="en-US" dirty="0"/>
              <a:t> et </a:t>
            </a:r>
            <a:r>
              <a:rPr lang="en-US" dirty="0" err="1"/>
              <a:t>habusperis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61" name="Text Placeholder 5">
            <a:extLst>
              <a:ext uri="{FF2B5EF4-FFF2-40B4-BE49-F238E27FC236}">
                <a16:creationId xmlns:a16="http://schemas.microsoft.com/office/drawing/2014/main" id="{64556BFB-F300-57FC-A62D-3AD7A041714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9694" y="9962869"/>
            <a:ext cx="8193745" cy="1227344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LOREM IPSUM</a:t>
            </a:r>
            <a:br>
              <a:rPr lang="en-US" dirty="0"/>
            </a:br>
            <a:endParaRPr lang="en-US" dirty="0"/>
          </a:p>
          <a:p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peris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be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ihin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il</a:t>
            </a:r>
            <a:r>
              <a:rPr lang="en-US" dirty="0">
                <a:effectLst/>
                <a:latin typeface="Helvetica Neue" panose="02000503000000020004" pitchFamily="2" charset="0"/>
              </a:rPr>
              <a:t> vo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e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ri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ati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uid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ne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113132F-8BFA-832B-D0B1-7068E04DDF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696" y="3716422"/>
            <a:ext cx="8193745" cy="1067851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UR VALUES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Quis</a:t>
            </a:r>
            <a:r>
              <a:rPr lang="en-US" dirty="0"/>
              <a:t> ipsum </a:t>
            </a:r>
            <a:r>
              <a:rPr lang="en-US" dirty="0" err="1"/>
              <a:t>Efactus</a:t>
            </a:r>
            <a:r>
              <a:rPr lang="en-US" dirty="0"/>
              <a:t> et L. </a:t>
            </a:r>
            <a:r>
              <a:rPr lang="en-US" dirty="0" err="1"/>
              <a:t>Habusperis</a:t>
            </a:r>
            <a:r>
              <a:rPr lang="en-US" dirty="0"/>
              <a:t> que cones. Simis </a:t>
            </a:r>
            <a:r>
              <a:rPr lang="en-US" dirty="0" err="1"/>
              <a:t>confir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esimo</a:t>
            </a:r>
            <a:r>
              <a:rPr lang="en-US" dirty="0"/>
              <a:t> </a:t>
            </a:r>
            <a:r>
              <a:rPr lang="en-US" dirty="0" err="1"/>
              <a:t>intem</a:t>
            </a:r>
            <a:r>
              <a:rPr lang="en-US" dirty="0"/>
              <a:t> </a:t>
            </a:r>
            <a:r>
              <a:rPr lang="en-US" dirty="0" err="1"/>
              <a:t>horio</a:t>
            </a:r>
            <a:r>
              <a:rPr lang="en-US" dirty="0"/>
              <a:t> </a:t>
            </a:r>
            <a:r>
              <a:rPr lang="en-US" dirty="0" err="1"/>
              <a:t>acci</a:t>
            </a:r>
            <a:r>
              <a:rPr lang="en-US" dirty="0"/>
              <a:t> </a:t>
            </a:r>
            <a:r>
              <a:rPr lang="en-US" dirty="0" err="1"/>
              <a:t>senatabut</a:t>
            </a:r>
            <a:r>
              <a:rPr lang="en-US" dirty="0"/>
              <a:t> vermis. </a:t>
            </a:r>
            <a:r>
              <a:rPr lang="en-US" dirty="0" err="1"/>
              <a:t>Moerenstra</a:t>
            </a:r>
            <a:r>
              <a:rPr lang="en-US" dirty="0"/>
              <a:t> L. </a:t>
            </a:r>
            <a:r>
              <a:rPr lang="en-US" dirty="0" err="1"/>
              <a:t>Fu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  <a:p>
            <a:pPr lvl="0"/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8935AD3-D533-4743-F141-82B090E0B9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696" y="7093352"/>
            <a:ext cx="7206260" cy="22816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PRODUCT INFORMATION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1336AB8-1B2D-740B-EAFC-5BDC25C47E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32563" y="7632432"/>
            <a:ext cx="543096" cy="559553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9CADC4F4-8742-493D-E60C-E16BE35E381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32563" y="8356210"/>
            <a:ext cx="543096" cy="559553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CFA1A45D-1C20-D7A0-E98A-6D4B1FB820C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32563" y="9079988"/>
            <a:ext cx="543096" cy="5595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0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A288B5B-D1B3-7C59-90C2-1DB50A9389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t="22019" r="4530" b="3109"/>
          <a:stretch/>
        </p:blipFill>
        <p:spPr>
          <a:xfrm flipH="1">
            <a:off x="-2" y="0"/>
            <a:ext cx="9601199" cy="128016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3A9D0E5-DB21-EB6F-1DEE-5FDD323EBE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695" y="2106594"/>
            <a:ext cx="8193747" cy="1437453"/>
          </a:xfrm>
        </p:spPr>
        <p:txBody>
          <a:bodyPr lIns="0" anchor="ctr">
            <a:noAutofit/>
          </a:bodyPr>
          <a:lstStyle>
            <a:lvl1pPr marL="0" marR="0" indent="0" algn="l">
              <a:lnSpc>
                <a:spcPct val="107000"/>
              </a:lnSpc>
              <a:spcBef>
                <a:spcPts val="0"/>
              </a:spcBef>
              <a:spcAft>
                <a:spcPts val="988"/>
              </a:spcAft>
              <a:buFont typeface="Arial" panose="020B0604020202020204" pitchFamily="34" charset="0"/>
              <a:buNone/>
              <a:defRPr sz="3953" b="0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/>
              <a:t>SIT ORA DOLOR EIUS MOD TEMP DO EIUSMOD TEMP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6FFA0662-A839-2A71-A7E9-9C740BED7A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11414014"/>
            <a:ext cx="827153" cy="138758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7B0E2049-324C-B023-CD78-6DC23962FB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27313" y="354317"/>
            <a:ext cx="2346575" cy="835535"/>
          </a:xfrm>
          <a:prstGeom prst="rect">
            <a:avLst/>
          </a:prstGeom>
        </p:spPr>
      </p:pic>
      <p:sp>
        <p:nvSpPr>
          <p:cNvPr id="247" name="Title 1">
            <a:extLst>
              <a:ext uri="{FF2B5EF4-FFF2-40B4-BE49-F238E27FC236}">
                <a16:creationId xmlns:a16="http://schemas.microsoft.com/office/drawing/2014/main" id="{E91BC39B-8088-06E9-731C-B1BE5488C48A}"/>
              </a:ext>
            </a:extLst>
          </p:cNvPr>
          <p:cNvSpPr txBox="1">
            <a:spLocks/>
          </p:cNvSpPr>
          <p:nvPr userDrawn="1"/>
        </p:nvSpPr>
        <p:spPr>
          <a:xfrm>
            <a:off x="414611" y="1605725"/>
            <a:ext cx="4046408" cy="500868"/>
          </a:xfrm>
          <a:prstGeom prst="rect">
            <a:avLst/>
          </a:prstGeom>
        </p:spPr>
        <p:txBody>
          <a:bodyPr vert="horz" lIns="112955" tIns="56478" rIns="112955" bIns="56478" rtlCol="0" anchor="ctr">
            <a:noAutofit/>
          </a:bodyPr>
          <a:lstStyle>
            <a:lvl1pPr marL="0" marR="0" indent="0" algn="l" defTabSz="582927" rtl="0" eaLnBrk="1" latinLnBrk="0" hangingPunct="1">
              <a:lnSpc>
                <a:spcPct val="107000"/>
              </a:lnSpc>
              <a:spcBef>
                <a:spcPts val="0"/>
              </a:spcBef>
              <a:spcAft>
                <a:spcPts val="510"/>
              </a:spcAft>
              <a:buFont typeface="Arial" panose="020B0604020202020204" pitchFamily="34" charset="0"/>
              <a:buNone/>
              <a:defRPr sz="3200" b="0" i="0" kern="1200">
                <a:solidFill>
                  <a:schemeClr val="accent1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indent="0">
              <a:spcAft>
                <a:spcPts val="988"/>
              </a:spcAft>
              <a:tabLst>
                <a:tab pos="2880767" algn="l"/>
              </a:tabLst>
            </a:pPr>
            <a:endParaRPr lang="en-US" sz="2471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2" name="Text Placeholder 251">
            <a:extLst>
              <a:ext uri="{FF2B5EF4-FFF2-40B4-BE49-F238E27FC236}">
                <a16:creationId xmlns:a16="http://schemas.microsoft.com/office/drawing/2014/main" id="{6B92DB0E-13A5-8866-8A0E-7819BA19D96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8863" y="1610846"/>
            <a:ext cx="8193747" cy="487176"/>
          </a:xfrm>
        </p:spPr>
        <p:txBody>
          <a:bodyPr lIns="0">
            <a:normAutofit/>
          </a:bodyPr>
          <a:lstStyle>
            <a:lvl1pPr marL="0" indent="0">
              <a:buNone/>
              <a:defRPr sz="2471"/>
            </a:lvl1pPr>
          </a:lstStyle>
          <a:p>
            <a:pPr lvl="0"/>
            <a:r>
              <a:rPr lang="en-US" dirty="0"/>
              <a:t>Lorem ipsum sit dolor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369B867B-9C8B-45AD-246E-8C5073213957}"/>
              </a:ext>
            </a:extLst>
          </p:cNvPr>
          <p:cNvSpPr txBox="1"/>
          <p:nvPr userDrawn="1"/>
        </p:nvSpPr>
        <p:spPr>
          <a:xfrm>
            <a:off x="4090199" y="11955409"/>
            <a:ext cx="1468415" cy="297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1482" b="1" i="0" dirty="0" err="1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1482" b="1" i="0" dirty="0">
              <a:solidFill>
                <a:schemeClr val="accent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257" name="Text Placeholder 5">
            <a:extLst>
              <a:ext uri="{FF2B5EF4-FFF2-40B4-BE49-F238E27FC236}">
                <a16:creationId xmlns:a16="http://schemas.microsoft.com/office/drawing/2014/main" id="{04664CDE-EA39-A54E-3067-5B2953032C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9696" y="5189563"/>
            <a:ext cx="8193745" cy="1498500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OMPANY FACTS</a:t>
            </a:r>
            <a:br>
              <a:rPr lang="en-US" dirty="0"/>
            </a:br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peris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be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ihin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il</a:t>
            </a:r>
            <a:r>
              <a:rPr lang="en-US" dirty="0">
                <a:effectLst/>
                <a:latin typeface="Helvetica Neue" panose="02000503000000020004" pitchFamily="2" charset="0"/>
              </a:rPr>
              <a:t> vo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effectLst/>
                <a:latin typeface="Helvetica Neue" panose="02000503000000020004" pitchFamily="2" charset="0"/>
              </a:rPr>
              <a:t> 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e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ri</a:t>
            </a:r>
            <a:r>
              <a:rPr lang="en-US" dirty="0">
                <a:effectLst/>
                <a:latin typeface="Helvetica Neue" panose="02000503000000020004" pitchFamily="2" charset="0"/>
              </a:rPr>
              <a:t> i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ati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uid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.</a:t>
            </a:r>
          </a:p>
          <a:p>
            <a:pPr lvl="0"/>
            <a:endParaRPr lang="en-GB" dirty="0"/>
          </a:p>
        </p:txBody>
      </p:sp>
      <p:sp>
        <p:nvSpPr>
          <p:cNvPr id="260" name="Text Placeholder 5">
            <a:extLst>
              <a:ext uri="{FF2B5EF4-FFF2-40B4-BE49-F238E27FC236}">
                <a16:creationId xmlns:a16="http://schemas.microsoft.com/office/drawing/2014/main" id="{05840F7E-2E09-BA79-4099-04804C1F18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83125" y="7546202"/>
            <a:ext cx="2807182" cy="733183"/>
          </a:xfrm>
        </p:spPr>
        <p:txBody>
          <a:bodyPr lIns="0" tIns="0" r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lla </a:t>
            </a:r>
            <a:r>
              <a:rPr lang="en-GB" dirty="0" err="1"/>
              <a:t>conc</a:t>
            </a:r>
            <a:r>
              <a:rPr lang="en-GB" dirty="0"/>
              <a:t> </a:t>
            </a:r>
            <a:r>
              <a:rPr lang="en-GB" dirty="0" err="1"/>
              <a:t>tericaudem</a:t>
            </a:r>
            <a:r>
              <a:rPr lang="en-GB" dirty="0"/>
              <a:t> </a:t>
            </a:r>
            <a:r>
              <a:rPr lang="en-GB" dirty="0" err="1"/>
              <a:t>nonfiriore</a:t>
            </a:r>
            <a:r>
              <a:rPr lang="en-GB" dirty="0"/>
              <a:t> </a:t>
            </a:r>
            <a:r>
              <a:rPr lang="en-GB" dirty="0" err="1"/>
              <a:t>quem</a:t>
            </a:r>
            <a:r>
              <a:rPr lang="en-GB" dirty="0"/>
              <a:t> </a:t>
            </a:r>
            <a:r>
              <a:rPr lang="en-GB" dirty="0" err="1"/>
              <a:t>siliam</a:t>
            </a:r>
            <a:r>
              <a:rPr lang="en-GB" dirty="0"/>
              <a:t> </a:t>
            </a:r>
            <a:r>
              <a:rPr lang="en-GB" dirty="0" err="1"/>
              <a:t>hostati</a:t>
            </a:r>
            <a:r>
              <a:rPr lang="en-GB" dirty="0"/>
              <a:t> </a:t>
            </a:r>
            <a:r>
              <a:rPr lang="en-GB" dirty="0" err="1"/>
              <a:t>linata</a:t>
            </a:r>
            <a:r>
              <a:rPr lang="en-GB" dirty="0"/>
              <a:t> </a:t>
            </a:r>
            <a:r>
              <a:rPr lang="en-GB" dirty="0" err="1"/>
              <a:t>quitum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notissit</a:t>
            </a:r>
            <a:r>
              <a:rPr lang="en-US" dirty="0"/>
              <a:t>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  <a:endParaRPr lang="en-GB" dirty="0"/>
          </a:p>
        </p:txBody>
      </p:sp>
      <p:sp>
        <p:nvSpPr>
          <p:cNvPr id="261" name="Text Placeholder 5">
            <a:extLst>
              <a:ext uri="{FF2B5EF4-FFF2-40B4-BE49-F238E27FC236}">
                <a16:creationId xmlns:a16="http://schemas.microsoft.com/office/drawing/2014/main" id="{64556BFB-F300-57FC-A62D-3AD7A041714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9695" y="10451696"/>
            <a:ext cx="5274193" cy="1227344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LOREM IPSUM</a:t>
            </a:r>
          </a:p>
          <a:p>
            <a:r>
              <a:rPr lang="en-US" dirty="0" err="1">
                <a:effectLst/>
                <a:latin typeface="Helvetica Neue" panose="02000503000000020004" pitchFamily="2" charset="0"/>
              </a:rPr>
              <a:t>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onsum</a:t>
            </a:r>
            <a:r>
              <a:rPr lang="en-US" dirty="0">
                <a:effectLst/>
                <a:latin typeface="Helvetica Neue" panose="02000503000000020004" pitchFamily="2" charset="0"/>
              </a:rPr>
              <a:t> item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i</a:t>
            </a:r>
            <a:r>
              <a:rPr lang="en-US" dirty="0">
                <a:effectLst/>
                <a:latin typeface="Helvetica Neue" panose="02000503000000020004" pitchFamily="2" charset="0"/>
              </a:rPr>
              <a:t>. Ad rem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r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pti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ioc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peris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 et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ea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ures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duceria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a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;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be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enihin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il</a:t>
            </a:r>
            <a:r>
              <a:rPr lang="en-US" dirty="0">
                <a:effectLst/>
                <a:latin typeface="Helvetica Neue" panose="02000503000000020004" pitchFamily="2" charset="0"/>
              </a:rPr>
              <a:t> vo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113132F-8BFA-832B-D0B1-7068E04DDF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696" y="3716422"/>
            <a:ext cx="8193745" cy="1067851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UR VALUES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 </a:t>
            </a:r>
            <a:r>
              <a:rPr lang="en-US" dirty="0" err="1"/>
              <a:t>Quis</a:t>
            </a:r>
            <a:r>
              <a:rPr lang="en-US" dirty="0"/>
              <a:t> ipsum </a:t>
            </a:r>
            <a:r>
              <a:rPr lang="en-US" dirty="0" err="1"/>
              <a:t>Efactus</a:t>
            </a:r>
            <a:r>
              <a:rPr lang="en-US" dirty="0"/>
              <a:t> et L. </a:t>
            </a:r>
            <a:r>
              <a:rPr lang="en-US" dirty="0" err="1"/>
              <a:t>Habusperis</a:t>
            </a:r>
            <a:r>
              <a:rPr lang="en-US" dirty="0"/>
              <a:t> que cones. Simis </a:t>
            </a:r>
            <a:r>
              <a:rPr lang="en-US" dirty="0" err="1"/>
              <a:t>confir</a:t>
            </a:r>
            <a:r>
              <a:rPr lang="en-US" dirty="0"/>
              <a:t> </a:t>
            </a:r>
            <a:r>
              <a:rPr lang="en-US" dirty="0" err="1"/>
              <a:t>iam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esimo</a:t>
            </a:r>
            <a:r>
              <a:rPr lang="en-US" dirty="0"/>
              <a:t> </a:t>
            </a:r>
            <a:r>
              <a:rPr lang="en-US" dirty="0" err="1"/>
              <a:t>intem</a:t>
            </a:r>
            <a:r>
              <a:rPr lang="en-US" dirty="0"/>
              <a:t> </a:t>
            </a:r>
            <a:r>
              <a:rPr lang="en-US" dirty="0" err="1"/>
              <a:t>horio</a:t>
            </a:r>
            <a:r>
              <a:rPr lang="en-US" dirty="0"/>
              <a:t> </a:t>
            </a:r>
            <a:r>
              <a:rPr lang="en-US" dirty="0" err="1"/>
              <a:t>acci</a:t>
            </a:r>
            <a:r>
              <a:rPr lang="en-US" dirty="0"/>
              <a:t> </a:t>
            </a:r>
            <a:r>
              <a:rPr lang="en-US" dirty="0" err="1"/>
              <a:t>senatabut</a:t>
            </a:r>
            <a:r>
              <a:rPr lang="en-US" dirty="0"/>
              <a:t> vermis. </a:t>
            </a:r>
            <a:r>
              <a:rPr lang="en-US" dirty="0" err="1"/>
              <a:t>Moerenstra</a:t>
            </a:r>
            <a:r>
              <a:rPr lang="en-US" dirty="0"/>
              <a:t> L. </a:t>
            </a:r>
            <a:r>
              <a:rPr lang="en-US" dirty="0" err="1"/>
              <a:t>Fu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>
                <a:effectLst/>
                <a:latin typeface="Helvetica Neue" panose="02000503000000020004" pitchFamily="2" charset="0"/>
              </a:rPr>
              <a:t>R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d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is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endee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m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r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es</a:t>
            </a:r>
            <a:r>
              <a:rPr lang="en-US" dirty="0">
                <a:effectLst/>
                <a:latin typeface="Helvetica Neue" panose="02000503000000020004" pitchFamily="2" charset="0"/>
              </a:rPr>
              <a:t> con se es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in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ebunte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  <a:p>
            <a:pPr lvl="0"/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E8935AD3-D533-4743-F141-82B090E0B9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696" y="7093352"/>
            <a:ext cx="7206260" cy="22816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PRODUCT INFORMATION</a:t>
            </a:r>
            <a:endParaRPr lang="en-GB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C1336AB8-1B2D-740B-EAFC-5BDC25C47EE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732563" y="7633018"/>
            <a:ext cx="543096" cy="55955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9CADC4F4-8742-493D-E60C-E16BE35E381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732563" y="8549598"/>
            <a:ext cx="543096" cy="559553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CFA1A45D-1C20-D7A0-E98A-6D4B1FB820C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32563" y="9466177"/>
            <a:ext cx="543096" cy="559553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Graphic 19">
            <a:extLst>
              <a:ext uri="{FF2B5EF4-FFF2-40B4-BE49-F238E27FC236}">
                <a16:creationId xmlns:a16="http://schemas.microsoft.com/office/drawing/2014/main" id="{22B63FCF-ADAF-75FA-E7A0-71D3B51E67F7}"/>
              </a:ext>
            </a:extLst>
          </p:cNvPr>
          <p:cNvSpPr/>
          <p:nvPr/>
        </p:nvSpPr>
        <p:spPr>
          <a:xfrm>
            <a:off x="4290306" y="7956757"/>
            <a:ext cx="5310890" cy="4844844"/>
          </a:xfrm>
          <a:custGeom>
            <a:avLst/>
            <a:gdLst>
              <a:gd name="connsiteX0" fmla="*/ 681691 w 5358303"/>
              <a:gd name="connsiteY0" fmla="*/ 1138604 h 4744328"/>
              <a:gd name="connsiteX1" fmla="*/ 869633 w 5358303"/>
              <a:gd name="connsiteY1" fmla="*/ 1439301 h 4744328"/>
              <a:gd name="connsiteX2" fmla="*/ 946918 w 5358303"/>
              <a:gd name="connsiteY2" fmla="*/ 1485021 h 4744328"/>
              <a:gd name="connsiteX3" fmla="*/ 1024203 w 5358303"/>
              <a:gd name="connsiteY3" fmla="*/ 1439301 h 4744328"/>
              <a:gd name="connsiteX4" fmla="*/ 1212146 w 5358303"/>
              <a:gd name="connsiteY4" fmla="*/ 1138604 h 4744328"/>
              <a:gd name="connsiteX5" fmla="*/ 947797 w 5358303"/>
              <a:gd name="connsiteY5" fmla="*/ 712177 h 4744328"/>
              <a:gd name="connsiteX6" fmla="*/ 683447 w 5358303"/>
              <a:gd name="connsiteY6" fmla="*/ 1138604 h 4744328"/>
              <a:gd name="connsiteX7" fmla="*/ 681691 w 5358303"/>
              <a:gd name="connsiteY7" fmla="*/ 1138604 h 4744328"/>
              <a:gd name="connsiteX8" fmla="*/ 5448 w 5358303"/>
              <a:gd name="connsiteY8" fmla="*/ 55392 h 4744328"/>
              <a:gd name="connsiteX9" fmla="*/ 627240 w 5358303"/>
              <a:gd name="connsiteY9" fmla="*/ 1051560 h 4744328"/>
              <a:gd name="connsiteX10" fmla="*/ 892468 w 5358303"/>
              <a:gd name="connsiteY10" fmla="*/ 625133 h 4744328"/>
              <a:gd name="connsiteX11" fmla="*/ 519217 w 5358303"/>
              <a:gd name="connsiteY11" fmla="*/ 23739 h 4744328"/>
              <a:gd name="connsiteX12" fmla="*/ 477061 w 5358303"/>
              <a:gd name="connsiteY12" fmla="*/ 0 h 4744328"/>
              <a:gd name="connsiteX13" fmla="*/ 36186 w 5358303"/>
              <a:gd name="connsiteY13" fmla="*/ 0 h 4744328"/>
              <a:gd name="connsiteX14" fmla="*/ 5448 w 5358303"/>
              <a:gd name="connsiteY14" fmla="*/ 55392 h 4744328"/>
              <a:gd name="connsiteX15" fmla="*/ 1855894 w 5358303"/>
              <a:gd name="connsiteY15" fmla="*/ 0 h 4744328"/>
              <a:gd name="connsiteX16" fmla="*/ 1415897 w 5358303"/>
              <a:gd name="connsiteY16" fmla="*/ 0 h 4744328"/>
              <a:gd name="connsiteX17" fmla="*/ 1373742 w 5358303"/>
              <a:gd name="connsiteY17" fmla="*/ 23739 h 4744328"/>
              <a:gd name="connsiteX18" fmla="*/ 1000491 w 5358303"/>
              <a:gd name="connsiteY18" fmla="*/ 625133 h 4744328"/>
              <a:gd name="connsiteX19" fmla="*/ 1265719 w 5358303"/>
              <a:gd name="connsiteY19" fmla="*/ 1051560 h 4744328"/>
              <a:gd name="connsiteX20" fmla="*/ 1886632 w 5358303"/>
              <a:gd name="connsiteY20" fmla="*/ 55392 h 4744328"/>
              <a:gd name="connsiteX21" fmla="*/ 1855894 w 5358303"/>
              <a:gd name="connsiteY21" fmla="*/ 0 h 4744328"/>
              <a:gd name="connsiteX22" fmla="*/ 1855894 w 5358303"/>
              <a:gd name="connsiteY22" fmla="*/ 0 h 4744328"/>
              <a:gd name="connsiteX23" fmla="*/ 2111461 w 5358303"/>
              <a:gd name="connsiteY23" fmla="*/ 0 h 4744328"/>
              <a:gd name="connsiteX24" fmla="*/ 1990264 w 5358303"/>
              <a:gd name="connsiteY24" fmla="*/ 66822 h 4744328"/>
              <a:gd name="connsiteX25" fmla="*/ 1043524 w 5358303"/>
              <a:gd name="connsiteY25" fmla="*/ 1583495 h 4744328"/>
              <a:gd name="connsiteX26" fmla="*/ 1043524 w 5358303"/>
              <a:gd name="connsiteY26" fmla="*/ 1718017 h 4744328"/>
              <a:gd name="connsiteX27" fmla="*/ 2890458 w 5358303"/>
              <a:gd name="connsiteY27" fmla="*/ 4677508 h 4744328"/>
              <a:gd name="connsiteX28" fmla="*/ 3011654 w 5358303"/>
              <a:gd name="connsiteY28" fmla="*/ 4744329 h 4744328"/>
              <a:gd name="connsiteX29" fmla="*/ 5358304 w 5358303"/>
              <a:gd name="connsiteY29" fmla="*/ 4744329 h 4744328"/>
              <a:gd name="connsiteX30" fmla="*/ 5358304 w 5358303"/>
              <a:gd name="connsiteY30" fmla="*/ 0 h 4744328"/>
              <a:gd name="connsiteX31" fmla="*/ 2111461 w 5358303"/>
              <a:gd name="connsiteY31" fmla="*/ 0 h 4744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358303" h="4744328">
                <a:moveTo>
                  <a:pt x="681691" y="1138604"/>
                </a:moveTo>
                <a:lnTo>
                  <a:pt x="869633" y="1439301"/>
                </a:lnTo>
                <a:cubicBezTo>
                  <a:pt x="888076" y="1469195"/>
                  <a:pt x="917058" y="1484142"/>
                  <a:pt x="946918" y="1485021"/>
                </a:cubicBezTo>
                <a:cubicBezTo>
                  <a:pt x="976778" y="1485021"/>
                  <a:pt x="1005760" y="1469195"/>
                  <a:pt x="1024203" y="1439301"/>
                </a:cubicBezTo>
                <a:lnTo>
                  <a:pt x="1212146" y="1138604"/>
                </a:lnTo>
                <a:lnTo>
                  <a:pt x="947797" y="712177"/>
                </a:lnTo>
                <a:lnTo>
                  <a:pt x="683447" y="1138604"/>
                </a:lnTo>
                <a:lnTo>
                  <a:pt x="681691" y="1138604"/>
                </a:lnTo>
                <a:close/>
                <a:moveTo>
                  <a:pt x="5448" y="55392"/>
                </a:moveTo>
                <a:lnTo>
                  <a:pt x="627240" y="1051560"/>
                </a:lnTo>
                <a:lnTo>
                  <a:pt x="892468" y="625133"/>
                </a:lnTo>
                <a:lnTo>
                  <a:pt x="519217" y="23739"/>
                </a:lnTo>
                <a:cubicBezTo>
                  <a:pt x="510434" y="8792"/>
                  <a:pt x="493748" y="0"/>
                  <a:pt x="477061" y="0"/>
                </a:cubicBezTo>
                <a:lnTo>
                  <a:pt x="36186" y="0"/>
                </a:lnTo>
                <a:cubicBezTo>
                  <a:pt x="8083" y="0"/>
                  <a:pt x="-9482" y="31652"/>
                  <a:pt x="5448" y="55392"/>
                </a:cubicBezTo>
                <a:moveTo>
                  <a:pt x="1855894" y="0"/>
                </a:moveTo>
                <a:lnTo>
                  <a:pt x="1415897" y="0"/>
                </a:lnTo>
                <a:cubicBezTo>
                  <a:pt x="1398332" y="0"/>
                  <a:pt x="1382524" y="8792"/>
                  <a:pt x="1373742" y="23739"/>
                </a:cubicBezTo>
                <a:lnTo>
                  <a:pt x="1000491" y="625133"/>
                </a:lnTo>
                <a:lnTo>
                  <a:pt x="1265719" y="1051560"/>
                </a:lnTo>
                <a:lnTo>
                  <a:pt x="1886632" y="55392"/>
                </a:lnTo>
                <a:cubicBezTo>
                  <a:pt x="1901562" y="30773"/>
                  <a:pt x="1883998" y="0"/>
                  <a:pt x="1855894" y="0"/>
                </a:cubicBezTo>
                <a:lnTo>
                  <a:pt x="1855894" y="0"/>
                </a:lnTo>
                <a:moveTo>
                  <a:pt x="2111461" y="0"/>
                </a:moveTo>
                <a:cubicBezTo>
                  <a:pt x="2067549" y="0"/>
                  <a:pt x="2013977" y="29894"/>
                  <a:pt x="1990264" y="66822"/>
                </a:cubicBezTo>
                <a:lnTo>
                  <a:pt x="1043524" y="1583495"/>
                </a:lnTo>
                <a:cubicBezTo>
                  <a:pt x="1020690" y="1620422"/>
                  <a:pt x="1020690" y="1680210"/>
                  <a:pt x="1043524" y="1718017"/>
                </a:cubicBezTo>
                <a:lnTo>
                  <a:pt x="2890458" y="4677508"/>
                </a:lnTo>
                <a:cubicBezTo>
                  <a:pt x="2913292" y="4714436"/>
                  <a:pt x="2967742" y="4744329"/>
                  <a:pt x="3011654" y="4744329"/>
                </a:cubicBezTo>
                <a:lnTo>
                  <a:pt x="5358304" y="4744329"/>
                </a:lnTo>
                <a:lnTo>
                  <a:pt x="5358304" y="0"/>
                </a:lnTo>
                <a:lnTo>
                  <a:pt x="2111461" y="0"/>
                </a:lnTo>
                <a:close/>
              </a:path>
            </a:pathLst>
          </a:custGeom>
          <a:blipFill dpi="0"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8837" t="-21685" r="-44801" b="-10090"/>
            </a:stretch>
          </a:blipFill>
          <a:ln w="878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971">
              <a:blipFill dpi="0"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a:endParaRP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6B000C58-AD6B-18FE-B5F0-60AA665286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483125" y="8462782"/>
            <a:ext cx="2807182" cy="733183"/>
          </a:xfrm>
        </p:spPr>
        <p:txBody>
          <a:bodyPr lIns="0" tIns="0" r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lla </a:t>
            </a:r>
            <a:r>
              <a:rPr lang="en-GB" dirty="0" err="1"/>
              <a:t>conc</a:t>
            </a:r>
            <a:r>
              <a:rPr lang="en-GB" dirty="0"/>
              <a:t> </a:t>
            </a:r>
            <a:r>
              <a:rPr lang="en-GB" dirty="0" err="1"/>
              <a:t>tericaudem</a:t>
            </a:r>
            <a:r>
              <a:rPr lang="en-GB" dirty="0"/>
              <a:t> </a:t>
            </a:r>
            <a:r>
              <a:rPr lang="en-GB" dirty="0" err="1"/>
              <a:t>nonfiriore</a:t>
            </a:r>
            <a:r>
              <a:rPr lang="en-GB" dirty="0"/>
              <a:t> </a:t>
            </a:r>
            <a:r>
              <a:rPr lang="en-GB" dirty="0" err="1"/>
              <a:t>quem</a:t>
            </a:r>
            <a:r>
              <a:rPr lang="en-GB" dirty="0"/>
              <a:t> </a:t>
            </a:r>
            <a:r>
              <a:rPr lang="en-GB" dirty="0" err="1"/>
              <a:t>siliam</a:t>
            </a:r>
            <a:r>
              <a:rPr lang="en-GB" dirty="0"/>
              <a:t> </a:t>
            </a:r>
            <a:r>
              <a:rPr lang="en-GB" dirty="0" err="1"/>
              <a:t>hostati</a:t>
            </a:r>
            <a:r>
              <a:rPr lang="en-GB" dirty="0"/>
              <a:t> </a:t>
            </a:r>
            <a:r>
              <a:rPr lang="en-GB" dirty="0" err="1"/>
              <a:t>linata</a:t>
            </a:r>
            <a:r>
              <a:rPr lang="en-GB" dirty="0"/>
              <a:t> </a:t>
            </a:r>
            <a:r>
              <a:rPr lang="en-GB" dirty="0" err="1"/>
              <a:t>quitum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notissit</a:t>
            </a:r>
            <a:r>
              <a:rPr lang="en-US" dirty="0"/>
              <a:t>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  <a:endParaRPr lang="en-GB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8EDB0476-F2DA-660F-545C-D50596532A8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83125" y="9379361"/>
            <a:ext cx="2807182" cy="733183"/>
          </a:xfrm>
        </p:spPr>
        <p:txBody>
          <a:bodyPr lIns="0" tIns="0" r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Ella </a:t>
            </a:r>
            <a:r>
              <a:rPr lang="en-GB" dirty="0" err="1"/>
              <a:t>conc</a:t>
            </a:r>
            <a:r>
              <a:rPr lang="en-GB" dirty="0"/>
              <a:t> </a:t>
            </a:r>
            <a:r>
              <a:rPr lang="en-GB" dirty="0" err="1"/>
              <a:t>tericaudem</a:t>
            </a:r>
            <a:r>
              <a:rPr lang="en-GB" dirty="0"/>
              <a:t> </a:t>
            </a:r>
            <a:r>
              <a:rPr lang="en-GB" dirty="0" err="1"/>
              <a:t>nonfiriore</a:t>
            </a:r>
            <a:r>
              <a:rPr lang="en-GB" dirty="0"/>
              <a:t> </a:t>
            </a:r>
            <a:r>
              <a:rPr lang="en-GB" dirty="0" err="1"/>
              <a:t>quem</a:t>
            </a:r>
            <a:r>
              <a:rPr lang="en-GB" dirty="0"/>
              <a:t> </a:t>
            </a:r>
            <a:r>
              <a:rPr lang="en-GB" dirty="0" err="1"/>
              <a:t>siliam</a:t>
            </a:r>
            <a:r>
              <a:rPr lang="en-GB" dirty="0"/>
              <a:t> </a:t>
            </a:r>
            <a:r>
              <a:rPr lang="en-GB" dirty="0" err="1"/>
              <a:t>hostati</a:t>
            </a:r>
            <a:r>
              <a:rPr lang="en-GB" dirty="0"/>
              <a:t> </a:t>
            </a:r>
            <a:r>
              <a:rPr lang="en-GB" dirty="0" err="1"/>
              <a:t>linata</a:t>
            </a:r>
            <a:r>
              <a:rPr lang="en-GB" dirty="0"/>
              <a:t> </a:t>
            </a:r>
            <a:r>
              <a:rPr lang="en-GB" dirty="0" err="1"/>
              <a:t>quitum</a:t>
            </a:r>
            <a:r>
              <a:rPr lang="en-GB" dirty="0"/>
              <a:t> </a:t>
            </a:r>
            <a:r>
              <a:rPr lang="en-GB" dirty="0" err="1"/>
              <a:t>mo</a:t>
            </a:r>
            <a:r>
              <a:rPr lang="en-GB" dirty="0"/>
              <a:t> </a:t>
            </a:r>
            <a:r>
              <a:rPr lang="en-GB" dirty="0" err="1"/>
              <a:t>notissit</a:t>
            </a:r>
            <a:r>
              <a:rPr lang="en-US" dirty="0"/>
              <a:t>.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effectLst/>
                <a:latin typeface="Helvetica Neue" panose="02000503000000020004" pitchFamily="2" charset="0"/>
              </a:rPr>
              <a:t>Lingultor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atqu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u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r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e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282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51">
            <a:extLst>
              <a:ext uri="{FF2B5EF4-FFF2-40B4-BE49-F238E27FC236}">
                <a16:creationId xmlns:a16="http://schemas.microsoft.com/office/drawing/2014/main" id="{DB5ADDD2-C4FD-2C12-2AB5-37BE6353A4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279" y="1142100"/>
            <a:ext cx="4848820" cy="760592"/>
          </a:xfrm>
        </p:spPr>
        <p:txBody>
          <a:bodyPr lIns="0">
            <a:normAutofit/>
          </a:bodyPr>
          <a:lstStyle>
            <a:lvl1pPr marL="0" indent="0">
              <a:buNone/>
              <a:defRPr sz="2471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MOROLRUM ELLEECEST QUIS SIT AMER</a:t>
            </a:r>
          </a:p>
        </p:txBody>
      </p:sp>
      <p:sp>
        <p:nvSpPr>
          <p:cNvPr id="8" name="Text Placeholder 251">
            <a:extLst>
              <a:ext uri="{FF2B5EF4-FFF2-40B4-BE49-F238E27FC236}">
                <a16:creationId xmlns:a16="http://schemas.microsoft.com/office/drawing/2014/main" id="{DB959A41-4426-A8A8-06FA-7769C456B30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279" y="1923514"/>
            <a:ext cx="4848820" cy="664282"/>
          </a:xfrm>
        </p:spPr>
        <p:txBody>
          <a:bodyPr lIns="0">
            <a:normAutofit/>
          </a:bodyPr>
          <a:lstStyle>
            <a:lvl1pPr marL="0" indent="0">
              <a:buNone/>
              <a:defRPr sz="2471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Lorem sit dolor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orem</a:t>
            </a:r>
            <a:r>
              <a:rPr lang="en-US" dirty="0"/>
              <a:t> </a:t>
            </a:r>
            <a:r>
              <a:rPr lang="en-US" dirty="0" err="1"/>
              <a:t>optiorum</a:t>
            </a:r>
            <a:r>
              <a:rPr lang="en-US" dirty="0"/>
              <a:t> </a:t>
            </a:r>
            <a:r>
              <a:rPr lang="en-US" dirty="0" err="1"/>
              <a:t>cesto</a:t>
            </a:r>
            <a:r>
              <a:rPr lang="en-US" dirty="0"/>
              <a:t> </a:t>
            </a:r>
            <a:r>
              <a:rPr lang="en-US" dirty="0" err="1"/>
              <a:t>tem</a:t>
            </a:r>
            <a:r>
              <a:rPr lang="en-US" dirty="0"/>
              <a:t> </a:t>
            </a:r>
            <a:r>
              <a:rPr lang="en-US" dirty="0" err="1"/>
              <a:t>quam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B2B7C74-271A-28AC-3A3A-CF75CF0CFE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279" y="2924644"/>
            <a:ext cx="4848403" cy="1050625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r>
              <a:rPr lang="en-US" dirty="0" err="1">
                <a:effectLst/>
                <a:latin typeface="Helvetica Neue" panose="02000503000000020004" pitchFamily="2" charset="0"/>
              </a:rPr>
              <a:t>Cest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e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l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leces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mi</a:t>
            </a:r>
            <a:r>
              <a:rPr lang="en-US" dirty="0">
                <a:effectLst/>
                <a:latin typeface="Helvetica Neue" panose="02000503000000020004" pitchFamily="2" charset="0"/>
              </a:rPr>
              <a:t>,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atiusd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sque</a:t>
            </a:r>
            <a:r>
              <a:rPr lang="en-US" dirty="0">
                <a:effectLst/>
                <a:latin typeface="Helvetica Neue" panose="02000503000000020004" pitchFamily="2" charset="0"/>
              </a:rPr>
              <a:t> pr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orep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les</a:t>
            </a:r>
            <a:r>
              <a:rPr lang="en-US" dirty="0">
                <a:effectLst/>
                <a:latin typeface="Helvetica Neue" panose="02000503000000020004" pitchFamily="2" charset="0"/>
              </a:rPr>
              <a:t> sum quo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pi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ist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nduc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s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e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tati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essinve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iatium</a:t>
            </a:r>
            <a:r>
              <a:rPr lang="en-US" dirty="0">
                <a:effectLst/>
                <a:latin typeface="Helvetica Neue" panose="02000503000000020004" pitchFamily="2" charset="0"/>
              </a:rPr>
              <a:t> et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untia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ssequi</a:t>
            </a:r>
            <a:r>
              <a:rPr lang="en-US" dirty="0">
                <a:effectLst/>
                <a:latin typeface="Helvetica Neue" panose="02000503000000020004" pitchFamily="2" charset="0"/>
              </a:rPr>
              <a:t> co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c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pe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t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15F013-BD55-BC45-38F4-75175736DA61}"/>
              </a:ext>
            </a:extLst>
          </p:cNvPr>
          <p:cNvGrpSpPr/>
          <p:nvPr userDrawn="1"/>
        </p:nvGrpSpPr>
        <p:grpSpPr>
          <a:xfrm>
            <a:off x="699279" y="4315704"/>
            <a:ext cx="4848820" cy="261292"/>
            <a:chOff x="566083" y="2511773"/>
            <a:chExt cx="3925235" cy="205301"/>
          </a:xfrm>
        </p:grpSpPr>
        <p:sp>
          <p:nvSpPr>
            <p:cNvPr id="12" name="Graphic 10">
              <a:extLst>
                <a:ext uri="{FF2B5EF4-FFF2-40B4-BE49-F238E27FC236}">
                  <a16:creationId xmlns:a16="http://schemas.microsoft.com/office/drawing/2014/main" id="{C4991126-61A3-1DB1-A662-914AEFF9F1E4}"/>
                </a:ext>
              </a:extLst>
            </p:cNvPr>
            <p:cNvSpPr/>
            <p:nvPr/>
          </p:nvSpPr>
          <p:spPr>
            <a:xfrm>
              <a:off x="1457454" y="2511773"/>
              <a:ext cx="586860" cy="205301"/>
            </a:xfrm>
            <a:custGeom>
              <a:avLst/>
              <a:gdLst>
                <a:gd name="connsiteX0" fmla="*/ 1406747 w 1406747"/>
                <a:gd name="connsiteY0" fmla="*/ 155599 h 492122"/>
                <a:gd name="connsiteX1" fmla="*/ 988505 w 1406747"/>
                <a:gd name="connsiteY1" fmla="*/ 0 h 492122"/>
                <a:gd name="connsiteX2" fmla="*/ 988505 w 1406747"/>
                <a:gd name="connsiteY2" fmla="*/ 151580 h 492122"/>
                <a:gd name="connsiteX3" fmla="*/ 1270826 w 1406747"/>
                <a:gd name="connsiteY3" fmla="*/ 241295 h 492122"/>
                <a:gd name="connsiteX4" fmla="*/ 988505 w 1406747"/>
                <a:gd name="connsiteY4" fmla="*/ 341290 h 492122"/>
                <a:gd name="connsiteX5" fmla="*/ 988505 w 1406747"/>
                <a:gd name="connsiteY5" fmla="*/ 492123 h 492122"/>
                <a:gd name="connsiteX6" fmla="*/ 1406747 w 1406747"/>
                <a:gd name="connsiteY6" fmla="*/ 327833 h 492122"/>
                <a:gd name="connsiteX7" fmla="*/ 1406747 w 1406747"/>
                <a:gd name="connsiteY7" fmla="*/ 155599 h 492122"/>
                <a:gd name="connsiteX8" fmla="*/ 912495 w 1406747"/>
                <a:gd name="connsiteY8" fmla="*/ 155599 h 492122"/>
                <a:gd name="connsiteX9" fmla="*/ 494252 w 1406747"/>
                <a:gd name="connsiteY9" fmla="*/ 0 h 492122"/>
                <a:gd name="connsiteX10" fmla="*/ 494252 w 1406747"/>
                <a:gd name="connsiteY10" fmla="*/ 151580 h 492122"/>
                <a:gd name="connsiteX11" fmla="*/ 776573 w 1406747"/>
                <a:gd name="connsiteY11" fmla="*/ 241295 h 492122"/>
                <a:gd name="connsiteX12" fmla="*/ 494252 w 1406747"/>
                <a:gd name="connsiteY12" fmla="*/ 341290 h 492122"/>
                <a:gd name="connsiteX13" fmla="*/ 494252 w 1406747"/>
                <a:gd name="connsiteY13" fmla="*/ 492123 h 492122"/>
                <a:gd name="connsiteX14" fmla="*/ 912495 w 1406747"/>
                <a:gd name="connsiteY14" fmla="*/ 327833 h 492122"/>
                <a:gd name="connsiteX15" fmla="*/ 912495 w 1406747"/>
                <a:gd name="connsiteY15" fmla="*/ 155599 h 492122"/>
                <a:gd name="connsiteX16" fmla="*/ 418243 w 1406747"/>
                <a:gd name="connsiteY16" fmla="*/ 155599 h 492122"/>
                <a:gd name="connsiteX17" fmla="*/ 0 w 1406747"/>
                <a:gd name="connsiteY17" fmla="*/ 0 h 492122"/>
                <a:gd name="connsiteX18" fmla="*/ 0 w 1406747"/>
                <a:gd name="connsiteY18" fmla="*/ 151580 h 492122"/>
                <a:gd name="connsiteX19" fmla="*/ 282321 w 1406747"/>
                <a:gd name="connsiteY19" fmla="*/ 241295 h 492122"/>
                <a:gd name="connsiteX20" fmla="*/ 0 w 1406747"/>
                <a:gd name="connsiteY20" fmla="*/ 341290 h 492122"/>
                <a:gd name="connsiteX21" fmla="*/ 0 w 1406747"/>
                <a:gd name="connsiteY21" fmla="*/ 492123 h 492122"/>
                <a:gd name="connsiteX22" fmla="*/ 418243 w 1406747"/>
                <a:gd name="connsiteY22" fmla="*/ 327833 h 492122"/>
                <a:gd name="connsiteX23" fmla="*/ 418243 w 1406747"/>
                <a:gd name="connsiteY23" fmla="*/ 155599 h 4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06747" h="492122">
                  <a:moveTo>
                    <a:pt x="1406747" y="155599"/>
                  </a:moveTo>
                  <a:lnTo>
                    <a:pt x="988505" y="0"/>
                  </a:lnTo>
                  <a:lnTo>
                    <a:pt x="988505" y="151580"/>
                  </a:lnTo>
                  <a:lnTo>
                    <a:pt x="1270826" y="241295"/>
                  </a:lnTo>
                  <a:lnTo>
                    <a:pt x="988505" y="341290"/>
                  </a:lnTo>
                  <a:lnTo>
                    <a:pt x="988505" y="492123"/>
                  </a:lnTo>
                  <a:lnTo>
                    <a:pt x="1406747" y="327833"/>
                  </a:lnTo>
                  <a:lnTo>
                    <a:pt x="1406747" y="155599"/>
                  </a:lnTo>
                  <a:close/>
                  <a:moveTo>
                    <a:pt x="912495" y="155599"/>
                  </a:moveTo>
                  <a:lnTo>
                    <a:pt x="494252" y="0"/>
                  </a:lnTo>
                  <a:lnTo>
                    <a:pt x="494252" y="151580"/>
                  </a:lnTo>
                  <a:lnTo>
                    <a:pt x="776573" y="241295"/>
                  </a:lnTo>
                  <a:lnTo>
                    <a:pt x="494252" y="341290"/>
                  </a:lnTo>
                  <a:lnTo>
                    <a:pt x="494252" y="492123"/>
                  </a:lnTo>
                  <a:lnTo>
                    <a:pt x="912495" y="327833"/>
                  </a:lnTo>
                  <a:lnTo>
                    <a:pt x="912495" y="155599"/>
                  </a:lnTo>
                  <a:close/>
                  <a:moveTo>
                    <a:pt x="418243" y="155599"/>
                  </a:moveTo>
                  <a:lnTo>
                    <a:pt x="0" y="0"/>
                  </a:lnTo>
                  <a:lnTo>
                    <a:pt x="0" y="151580"/>
                  </a:lnTo>
                  <a:lnTo>
                    <a:pt x="282321" y="241295"/>
                  </a:lnTo>
                  <a:lnTo>
                    <a:pt x="0" y="341290"/>
                  </a:lnTo>
                  <a:lnTo>
                    <a:pt x="0" y="492123"/>
                  </a:lnTo>
                  <a:lnTo>
                    <a:pt x="418243" y="327833"/>
                  </a:lnTo>
                  <a:lnTo>
                    <a:pt x="418243" y="155599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971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117172F-20B0-3993-7983-B2A36D0EEE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000" y="2614423"/>
              <a:ext cx="2332318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690CBBC-2BF5-4526-5BCE-A0F4A875DD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6083" y="2614423"/>
              <a:ext cx="776685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9FA00F2-D6A6-BE33-7FAF-5118C1602D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696" y="4917432"/>
            <a:ext cx="4848403" cy="1484935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 </a:t>
            </a:r>
            <a:r>
              <a:rPr lang="en-GB" dirty="0" err="1"/>
              <a:t>Ris</a:t>
            </a:r>
            <a:r>
              <a:rPr lang="en-GB" dirty="0"/>
              <a:t>, </a:t>
            </a:r>
            <a:r>
              <a:rPr lang="en-GB" dirty="0" err="1"/>
              <a:t>nondum</a:t>
            </a:r>
            <a:r>
              <a:rPr lang="en-GB" dirty="0"/>
              <a:t> </a:t>
            </a:r>
            <a:r>
              <a:rPr lang="en-GB" dirty="0" err="1"/>
              <a:t>disquam</a:t>
            </a:r>
            <a:r>
              <a:rPr lang="en-GB" dirty="0"/>
              <a:t> </a:t>
            </a:r>
            <a:r>
              <a:rPr lang="en-GB" dirty="0" err="1"/>
              <a:t>mendees</a:t>
            </a:r>
            <a:r>
              <a:rPr lang="en-GB" dirty="0"/>
              <a:t> </a:t>
            </a:r>
            <a:r>
              <a:rPr lang="en-GB" dirty="0" err="1"/>
              <a:t>simium</a:t>
            </a:r>
            <a:r>
              <a:rPr lang="en-GB" dirty="0"/>
              <a:t> </a:t>
            </a:r>
            <a:r>
              <a:rPr lang="en-GB" dirty="0" err="1"/>
              <a:t>eris</a:t>
            </a:r>
            <a:r>
              <a:rPr lang="en-GB" dirty="0"/>
              <a:t>; </a:t>
            </a:r>
            <a:r>
              <a:rPr lang="en-GB" dirty="0" err="1"/>
              <a:t>nes</a:t>
            </a:r>
            <a:r>
              <a:rPr lang="en-GB" dirty="0"/>
              <a:t> con se es con </a:t>
            </a:r>
            <a:r>
              <a:rPr lang="en-GB" dirty="0" err="1"/>
              <a:t>atin</a:t>
            </a:r>
            <a:r>
              <a:rPr lang="en-GB" dirty="0"/>
              <a:t> </a:t>
            </a:r>
            <a:r>
              <a:rPr lang="en-GB" dirty="0" err="1"/>
              <a:t>hebunte</a:t>
            </a:r>
            <a:r>
              <a:rPr lang="en-GB" dirty="0"/>
              <a:t> </a:t>
            </a:r>
            <a:r>
              <a:rPr lang="en-GB" dirty="0" err="1"/>
              <a:t>laberum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senihinat</a:t>
            </a:r>
            <a:r>
              <a:rPr lang="en-GB" dirty="0"/>
              <a:t>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A006DC7-1220-DEEF-BBCC-F865BDCC0FC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824257" y="577269"/>
            <a:ext cx="4042720" cy="6117936"/>
          </a:xfrm>
          <a:prstGeom prst="roundRect">
            <a:avLst>
              <a:gd name="adj" fmla="val 4353"/>
            </a:avLst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EAE58EB-890A-F531-EFF3-AFFD5DED6F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9695" y="6716027"/>
            <a:ext cx="8186357" cy="1188363"/>
          </a:xfrm>
        </p:spPr>
        <p:txBody>
          <a:bodyPr lIns="0">
            <a:noAutofit/>
          </a:bodyPr>
          <a:lstStyle>
            <a:lvl1pPr marL="211792" indent="-211792">
              <a:lnSpc>
                <a:spcPct val="125000"/>
              </a:lnSpc>
              <a:spcBef>
                <a:spcPts val="0"/>
              </a:spcBef>
              <a:buFont typeface="System Font Regular"/>
              <a:buChar char="&gt;"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>
                <a:effectLst/>
                <a:latin typeface="Helvetica Neue" panose="02000503000000020004" pitchFamily="2" charset="0"/>
              </a:rPr>
              <a:t>Ella conc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ricaud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firio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l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stat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a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t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issi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u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eb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rbi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stren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nuncl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gilicien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befacia</a:t>
            </a:r>
            <a:r>
              <a:rPr lang="en-US" dirty="0">
                <a:effectLst/>
                <a:latin typeface="Helvetica Neue" panose="02000503000000020004" pitchFamily="2" charset="0"/>
              </a:rPr>
              <a:t>?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iem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bsenat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rn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lus</a:t>
            </a:r>
            <a:r>
              <a:rPr lang="en-US" dirty="0">
                <a:effectLst/>
                <a:latin typeface="Helvetica Neue" panose="02000503000000020004" pitchFamily="2" charset="0"/>
              </a:rPr>
              <a:t> nos.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verc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atque</a:t>
            </a:r>
            <a:r>
              <a:rPr lang="en-US" dirty="0">
                <a:effectLst/>
                <a:latin typeface="Helvetica Neue" panose="02000503000000020004" pitchFamily="2" charset="0"/>
              </a:rPr>
              <a:t>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habu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rfex</a:t>
            </a:r>
            <a:r>
              <a:rPr lang="en-US" dirty="0">
                <a:effectLst/>
                <a:latin typeface="Helvetica Neue" panose="02000503000000020004" pitchFamily="2" charset="0"/>
              </a:rPr>
              <a:t>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x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ena</a:t>
            </a:r>
            <a:r>
              <a:rPr lang="en-US" dirty="0">
                <a:effectLst/>
                <a:latin typeface="Helvetica Neue" panose="02000503000000020004" pitchFamily="2" charset="0"/>
              </a:rPr>
              <a:t> 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d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</a:t>
            </a:r>
            <a:endParaRPr lang="en-US" dirty="0">
              <a:latin typeface="Helvetica Neue" panose="02000503000000020004" pitchFamily="2" charset="0"/>
            </a:endParaRP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latin typeface="Helvetica Neue" panose="02000503000000020004" pitchFamily="2" charset="0"/>
              </a:rPr>
              <a:t>I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gu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iss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tercep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u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d</a:t>
            </a:r>
            <a:r>
              <a:rPr lang="en-US" dirty="0">
                <a:effectLst/>
                <a:latin typeface="Helvetica Neue" panose="02000503000000020004" pitchFamily="2" charset="0"/>
              </a:rPr>
              <a:t> di senate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cavo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C8AFA6C-EB34-6479-7048-14EC8EC83445}"/>
              </a:ext>
            </a:extLst>
          </p:cNvPr>
          <p:cNvSpPr/>
          <p:nvPr userDrawn="1"/>
        </p:nvSpPr>
        <p:spPr>
          <a:xfrm>
            <a:off x="692307" y="10351480"/>
            <a:ext cx="8193745" cy="2556607"/>
          </a:xfrm>
          <a:prstGeom prst="roundRect">
            <a:avLst>
              <a:gd name="adj" fmla="val 464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284613" indent="-284613" algn="l">
              <a:lnSpc>
                <a:spcPct val="90000"/>
              </a:lnSpc>
              <a:spcBef>
                <a:spcPts val="1235"/>
              </a:spcBef>
              <a:buClr>
                <a:schemeClr val="bg2"/>
              </a:buClr>
              <a:buFont typeface="Arial" panose="020B0604020202020204" pitchFamily="34" charset="0"/>
              <a:buChar char="&gt;"/>
            </a:pPr>
            <a:endParaRPr lang="en-US" sz="1729" dirty="0">
              <a:solidFill>
                <a:schemeClr val="bg2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5EE430C-7C60-D3A5-7637-A02F26BEF90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800384" y="8212968"/>
            <a:ext cx="7085667" cy="84633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C7612D6-7C9E-6D24-B016-CF5E436EC30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800384" y="9217389"/>
            <a:ext cx="7085667" cy="84633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</a:t>
            </a:r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C7DEF6C0-6F15-2937-0A56-28F13F4F079B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99695" y="8211799"/>
            <a:ext cx="821440" cy="84633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52D4F69E-6967-61FF-2E70-4B08A90B90CF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99695" y="9203247"/>
            <a:ext cx="835166" cy="86047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E6A5B057-F3F8-59D3-B1A3-CC555DAD782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786728" y="12113911"/>
            <a:ext cx="4662590" cy="350080"/>
          </a:xfrm>
        </p:spPr>
        <p:txBody>
          <a:bodyPr lIns="0" rIns="0" anchor="b">
            <a:noAutofit/>
          </a:bodyPr>
          <a:lstStyle>
            <a:lvl1pPr marL="0" indent="0" algn="r">
              <a:lnSpc>
                <a:spcPct val="100000"/>
              </a:lnSpc>
              <a:buNone/>
              <a:defRPr sz="741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[Insert Trademark Statement]</a:t>
            </a:r>
            <a:br>
              <a:rPr lang="en-US" dirty="0"/>
            </a:br>
            <a:r>
              <a:rPr lang="en-US" dirty="0"/>
              <a:t>XXX-XXXX-XXXXXX v.1.0 XX/XX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8055DCDF-0A0A-9D18-5FE6-EE96B378973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44753" y="10586944"/>
            <a:ext cx="7304566" cy="1445677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74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x Only. For safe and proper use, please refer to the Operator’s Manual or Instructions for use on the products mentioned herein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br>
              <a:rPr lang="en-US" dirty="0"/>
            </a:br>
            <a:r>
              <a:rPr lang="en-US" dirty="0"/>
              <a:t>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ferences</a:t>
            </a:r>
            <a:br>
              <a:rPr lang="en-US" dirty="0"/>
            </a:br>
            <a:r>
              <a:rPr lang="en-US" dirty="0"/>
              <a:t>1. </a:t>
            </a:r>
            <a:r>
              <a:rPr lang="en-US" dirty="0" err="1"/>
              <a:t>Aximia</a:t>
            </a:r>
            <a:r>
              <a:rPr lang="en-US" dirty="0"/>
              <a:t>,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2.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3. </a:t>
            </a:r>
            <a:r>
              <a:rPr lang="en-US" dirty="0" err="1"/>
              <a:t>Reicitat</a:t>
            </a:r>
            <a:r>
              <a:rPr lang="en-US" dirty="0"/>
              <a:t> lam quo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sapedipsam</a:t>
            </a:r>
            <a:r>
              <a:rPr lang="en-US" dirty="0"/>
              <a:t>, </a:t>
            </a:r>
            <a:r>
              <a:rPr lang="en-US" dirty="0" err="1"/>
              <a:t>tet</a:t>
            </a:r>
            <a:r>
              <a:rPr lang="en-US" dirty="0"/>
              <a:t> </a:t>
            </a:r>
            <a:r>
              <a:rPr lang="en-US" dirty="0" err="1"/>
              <a:t>dolo</a:t>
            </a:r>
            <a:r>
              <a:rPr lang="en-US" dirty="0"/>
              <a:t> et </a:t>
            </a:r>
            <a:r>
              <a:rPr lang="en-US" dirty="0" err="1"/>
              <a:t>omniet</a:t>
            </a:r>
            <a:r>
              <a:rPr lang="en-US" dirty="0"/>
              <a:t> as </a:t>
            </a:r>
            <a:r>
              <a:rPr lang="en-US" dirty="0" err="1"/>
              <a:t>dusti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E01152-F474-F5D0-9700-D530AE24B6EE}"/>
              </a:ext>
            </a:extLst>
          </p:cNvPr>
          <p:cNvSpPr txBox="1"/>
          <p:nvPr userDrawn="1"/>
        </p:nvSpPr>
        <p:spPr>
          <a:xfrm>
            <a:off x="1144753" y="12240714"/>
            <a:ext cx="2558608" cy="1949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l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741" b="1" i="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741" b="1" i="0" dirty="0">
              <a:solidFill>
                <a:schemeClr val="bg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111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51">
            <a:extLst>
              <a:ext uri="{FF2B5EF4-FFF2-40B4-BE49-F238E27FC236}">
                <a16:creationId xmlns:a16="http://schemas.microsoft.com/office/drawing/2014/main" id="{DB5ADDD2-C4FD-2C12-2AB5-37BE6353A4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279" y="1142100"/>
            <a:ext cx="8193747" cy="296464"/>
          </a:xfrm>
        </p:spPr>
        <p:txBody>
          <a:bodyPr lIns="0">
            <a:normAutofit/>
          </a:bodyPr>
          <a:lstStyle>
            <a:lvl1pPr marL="0" indent="0">
              <a:buNone/>
              <a:defRPr sz="2471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MOROLRUM ELLEECEST QUIS SIT AMER</a:t>
            </a:r>
          </a:p>
        </p:txBody>
      </p:sp>
      <p:sp>
        <p:nvSpPr>
          <p:cNvPr id="8" name="Text Placeholder 251">
            <a:extLst>
              <a:ext uri="{FF2B5EF4-FFF2-40B4-BE49-F238E27FC236}">
                <a16:creationId xmlns:a16="http://schemas.microsoft.com/office/drawing/2014/main" id="{DB959A41-4426-A8A8-06FA-7769C456B30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279" y="1572999"/>
            <a:ext cx="8193747" cy="296464"/>
          </a:xfrm>
        </p:spPr>
        <p:txBody>
          <a:bodyPr lIns="0">
            <a:normAutofit/>
          </a:bodyPr>
          <a:lstStyle>
            <a:lvl1pPr marL="0" indent="0">
              <a:buNone/>
              <a:defRPr sz="2471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Lorem sit dolor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orem</a:t>
            </a:r>
            <a:r>
              <a:rPr lang="en-US" dirty="0"/>
              <a:t> </a:t>
            </a:r>
            <a:r>
              <a:rPr lang="en-US" dirty="0" err="1"/>
              <a:t>optiorum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B2B7C74-271A-28AC-3A3A-CF75CF0CFE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279" y="2003899"/>
            <a:ext cx="8193745" cy="71159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r>
              <a:rPr lang="en-US" dirty="0" err="1">
                <a:effectLst/>
                <a:latin typeface="Helvetica Neue" panose="02000503000000020004" pitchFamily="2" charset="0"/>
              </a:rPr>
              <a:t>Cest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e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l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leces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mi</a:t>
            </a:r>
            <a:r>
              <a:rPr lang="en-US" dirty="0">
                <a:effectLst/>
                <a:latin typeface="Helvetica Neue" panose="02000503000000020004" pitchFamily="2" charset="0"/>
              </a:rPr>
              <a:t>,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atiusd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sque</a:t>
            </a:r>
            <a:r>
              <a:rPr lang="en-US" dirty="0">
                <a:effectLst/>
                <a:latin typeface="Helvetica Neue" panose="02000503000000020004" pitchFamily="2" charset="0"/>
              </a:rPr>
              <a:t> pr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orep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les</a:t>
            </a:r>
            <a:r>
              <a:rPr lang="en-US" dirty="0">
                <a:effectLst/>
                <a:latin typeface="Helvetica Neue" panose="02000503000000020004" pitchFamily="2" charset="0"/>
              </a:rPr>
              <a:t> sum quo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pi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ist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nduc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s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e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tati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essinve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iatium</a:t>
            </a:r>
            <a:r>
              <a:rPr lang="en-US" dirty="0">
                <a:effectLst/>
                <a:latin typeface="Helvetica Neue" panose="02000503000000020004" pitchFamily="2" charset="0"/>
              </a:rPr>
              <a:t> et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untia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ssequi</a:t>
            </a:r>
            <a:r>
              <a:rPr lang="en-US" dirty="0">
                <a:effectLst/>
                <a:latin typeface="Helvetica Neue" panose="02000503000000020004" pitchFamily="2" charset="0"/>
              </a:rPr>
              <a:t> co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c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pe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quae</a:t>
            </a:r>
            <a:r>
              <a:rPr lang="en-US" dirty="0">
                <a:effectLst/>
                <a:latin typeface="Helvetica Neue" panose="02000503000000020004" pitchFamily="2" charset="0"/>
              </a:rPr>
              <a:t> dolor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bo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pori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nessint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15F013-BD55-BC45-38F4-75175736DA61}"/>
              </a:ext>
            </a:extLst>
          </p:cNvPr>
          <p:cNvGrpSpPr/>
          <p:nvPr userDrawn="1"/>
        </p:nvGrpSpPr>
        <p:grpSpPr>
          <a:xfrm>
            <a:off x="699279" y="3045218"/>
            <a:ext cx="8193745" cy="261292"/>
            <a:chOff x="566083" y="2511773"/>
            <a:chExt cx="6633032" cy="205301"/>
          </a:xfrm>
        </p:grpSpPr>
        <p:sp>
          <p:nvSpPr>
            <p:cNvPr id="12" name="Graphic 10">
              <a:extLst>
                <a:ext uri="{FF2B5EF4-FFF2-40B4-BE49-F238E27FC236}">
                  <a16:creationId xmlns:a16="http://schemas.microsoft.com/office/drawing/2014/main" id="{C4991126-61A3-1DB1-A662-914AEFF9F1E4}"/>
                </a:ext>
              </a:extLst>
            </p:cNvPr>
            <p:cNvSpPr/>
            <p:nvPr/>
          </p:nvSpPr>
          <p:spPr>
            <a:xfrm>
              <a:off x="1457454" y="2511773"/>
              <a:ext cx="586860" cy="205301"/>
            </a:xfrm>
            <a:custGeom>
              <a:avLst/>
              <a:gdLst>
                <a:gd name="connsiteX0" fmla="*/ 1406747 w 1406747"/>
                <a:gd name="connsiteY0" fmla="*/ 155599 h 492122"/>
                <a:gd name="connsiteX1" fmla="*/ 988505 w 1406747"/>
                <a:gd name="connsiteY1" fmla="*/ 0 h 492122"/>
                <a:gd name="connsiteX2" fmla="*/ 988505 w 1406747"/>
                <a:gd name="connsiteY2" fmla="*/ 151580 h 492122"/>
                <a:gd name="connsiteX3" fmla="*/ 1270826 w 1406747"/>
                <a:gd name="connsiteY3" fmla="*/ 241295 h 492122"/>
                <a:gd name="connsiteX4" fmla="*/ 988505 w 1406747"/>
                <a:gd name="connsiteY4" fmla="*/ 341290 h 492122"/>
                <a:gd name="connsiteX5" fmla="*/ 988505 w 1406747"/>
                <a:gd name="connsiteY5" fmla="*/ 492123 h 492122"/>
                <a:gd name="connsiteX6" fmla="*/ 1406747 w 1406747"/>
                <a:gd name="connsiteY6" fmla="*/ 327833 h 492122"/>
                <a:gd name="connsiteX7" fmla="*/ 1406747 w 1406747"/>
                <a:gd name="connsiteY7" fmla="*/ 155599 h 492122"/>
                <a:gd name="connsiteX8" fmla="*/ 912495 w 1406747"/>
                <a:gd name="connsiteY8" fmla="*/ 155599 h 492122"/>
                <a:gd name="connsiteX9" fmla="*/ 494252 w 1406747"/>
                <a:gd name="connsiteY9" fmla="*/ 0 h 492122"/>
                <a:gd name="connsiteX10" fmla="*/ 494252 w 1406747"/>
                <a:gd name="connsiteY10" fmla="*/ 151580 h 492122"/>
                <a:gd name="connsiteX11" fmla="*/ 776573 w 1406747"/>
                <a:gd name="connsiteY11" fmla="*/ 241295 h 492122"/>
                <a:gd name="connsiteX12" fmla="*/ 494252 w 1406747"/>
                <a:gd name="connsiteY12" fmla="*/ 341290 h 492122"/>
                <a:gd name="connsiteX13" fmla="*/ 494252 w 1406747"/>
                <a:gd name="connsiteY13" fmla="*/ 492123 h 492122"/>
                <a:gd name="connsiteX14" fmla="*/ 912495 w 1406747"/>
                <a:gd name="connsiteY14" fmla="*/ 327833 h 492122"/>
                <a:gd name="connsiteX15" fmla="*/ 912495 w 1406747"/>
                <a:gd name="connsiteY15" fmla="*/ 155599 h 492122"/>
                <a:gd name="connsiteX16" fmla="*/ 418243 w 1406747"/>
                <a:gd name="connsiteY16" fmla="*/ 155599 h 492122"/>
                <a:gd name="connsiteX17" fmla="*/ 0 w 1406747"/>
                <a:gd name="connsiteY17" fmla="*/ 0 h 492122"/>
                <a:gd name="connsiteX18" fmla="*/ 0 w 1406747"/>
                <a:gd name="connsiteY18" fmla="*/ 151580 h 492122"/>
                <a:gd name="connsiteX19" fmla="*/ 282321 w 1406747"/>
                <a:gd name="connsiteY19" fmla="*/ 241295 h 492122"/>
                <a:gd name="connsiteX20" fmla="*/ 0 w 1406747"/>
                <a:gd name="connsiteY20" fmla="*/ 341290 h 492122"/>
                <a:gd name="connsiteX21" fmla="*/ 0 w 1406747"/>
                <a:gd name="connsiteY21" fmla="*/ 492123 h 492122"/>
                <a:gd name="connsiteX22" fmla="*/ 418243 w 1406747"/>
                <a:gd name="connsiteY22" fmla="*/ 327833 h 492122"/>
                <a:gd name="connsiteX23" fmla="*/ 418243 w 1406747"/>
                <a:gd name="connsiteY23" fmla="*/ 155599 h 4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06747" h="492122">
                  <a:moveTo>
                    <a:pt x="1406747" y="155599"/>
                  </a:moveTo>
                  <a:lnTo>
                    <a:pt x="988505" y="0"/>
                  </a:lnTo>
                  <a:lnTo>
                    <a:pt x="988505" y="151580"/>
                  </a:lnTo>
                  <a:lnTo>
                    <a:pt x="1270826" y="241295"/>
                  </a:lnTo>
                  <a:lnTo>
                    <a:pt x="988505" y="341290"/>
                  </a:lnTo>
                  <a:lnTo>
                    <a:pt x="988505" y="492123"/>
                  </a:lnTo>
                  <a:lnTo>
                    <a:pt x="1406747" y="327833"/>
                  </a:lnTo>
                  <a:lnTo>
                    <a:pt x="1406747" y="155599"/>
                  </a:lnTo>
                  <a:close/>
                  <a:moveTo>
                    <a:pt x="912495" y="155599"/>
                  </a:moveTo>
                  <a:lnTo>
                    <a:pt x="494252" y="0"/>
                  </a:lnTo>
                  <a:lnTo>
                    <a:pt x="494252" y="151580"/>
                  </a:lnTo>
                  <a:lnTo>
                    <a:pt x="776573" y="241295"/>
                  </a:lnTo>
                  <a:lnTo>
                    <a:pt x="494252" y="341290"/>
                  </a:lnTo>
                  <a:lnTo>
                    <a:pt x="494252" y="492123"/>
                  </a:lnTo>
                  <a:lnTo>
                    <a:pt x="912495" y="327833"/>
                  </a:lnTo>
                  <a:lnTo>
                    <a:pt x="912495" y="155599"/>
                  </a:lnTo>
                  <a:close/>
                  <a:moveTo>
                    <a:pt x="418243" y="155599"/>
                  </a:moveTo>
                  <a:lnTo>
                    <a:pt x="0" y="0"/>
                  </a:lnTo>
                  <a:lnTo>
                    <a:pt x="0" y="151580"/>
                  </a:lnTo>
                  <a:lnTo>
                    <a:pt x="282321" y="241295"/>
                  </a:lnTo>
                  <a:lnTo>
                    <a:pt x="0" y="341290"/>
                  </a:lnTo>
                  <a:lnTo>
                    <a:pt x="0" y="492123"/>
                  </a:lnTo>
                  <a:lnTo>
                    <a:pt x="418243" y="327833"/>
                  </a:lnTo>
                  <a:lnTo>
                    <a:pt x="418243" y="155599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971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117172F-20B0-3993-7983-B2A36D0EEE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000" y="2614423"/>
              <a:ext cx="5040115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690CBBC-2BF5-4526-5BCE-A0F4A875DD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6083" y="2614423"/>
              <a:ext cx="776685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9FA00F2-D6A6-BE33-7FAF-5118C1602D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696" y="3636237"/>
            <a:ext cx="4848403" cy="1703461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  <a:br>
              <a:rPr lang="en-US" dirty="0"/>
            </a:br>
            <a:endParaRPr lang="en-US" dirty="0"/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 </a:t>
            </a:r>
            <a:r>
              <a:rPr lang="en-GB" dirty="0" err="1"/>
              <a:t>Ris</a:t>
            </a:r>
            <a:r>
              <a:rPr lang="en-GB" dirty="0"/>
              <a:t>, </a:t>
            </a:r>
            <a:r>
              <a:rPr lang="en-GB" dirty="0" err="1"/>
              <a:t>nondum</a:t>
            </a:r>
            <a:r>
              <a:rPr lang="en-GB" dirty="0"/>
              <a:t> </a:t>
            </a:r>
            <a:r>
              <a:rPr lang="en-GB" dirty="0" err="1"/>
              <a:t>disquam</a:t>
            </a:r>
            <a:r>
              <a:rPr lang="en-GB" dirty="0"/>
              <a:t> </a:t>
            </a:r>
            <a:r>
              <a:rPr lang="en-GB" dirty="0" err="1"/>
              <a:t>mendees</a:t>
            </a:r>
            <a:r>
              <a:rPr lang="en-GB" dirty="0"/>
              <a:t> </a:t>
            </a:r>
            <a:r>
              <a:rPr lang="en-GB" dirty="0" err="1"/>
              <a:t>simium</a:t>
            </a:r>
            <a:r>
              <a:rPr lang="en-GB" dirty="0"/>
              <a:t> </a:t>
            </a:r>
            <a:r>
              <a:rPr lang="en-GB" dirty="0" err="1"/>
              <a:t>eris</a:t>
            </a:r>
            <a:r>
              <a:rPr lang="en-GB" dirty="0"/>
              <a:t>; </a:t>
            </a:r>
            <a:r>
              <a:rPr lang="en-GB" dirty="0" err="1"/>
              <a:t>nes</a:t>
            </a:r>
            <a:r>
              <a:rPr lang="en-GB" dirty="0"/>
              <a:t> con se es con </a:t>
            </a:r>
            <a:r>
              <a:rPr lang="en-GB" dirty="0" err="1"/>
              <a:t>atin</a:t>
            </a:r>
            <a:r>
              <a:rPr lang="en-GB" dirty="0"/>
              <a:t> </a:t>
            </a:r>
            <a:r>
              <a:rPr lang="en-GB" dirty="0" err="1"/>
              <a:t>hebunte</a:t>
            </a:r>
            <a:r>
              <a:rPr lang="en-GB" dirty="0"/>
              <a:t> </a:t>
            </a:r>
            <a:r>
              <a:rPr lang="en-GB" dirty="0" err="1"/>
              <a:t>laberum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senihinat</a:t>
            </a:r>
            <a:r>
              <a:rPr lang="en-GB" dirty="0"/>
              <a:t>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A006DC7-1220-DEEF-BBCC-F865BDCC0FC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824257" y="3636818"/>
            <a:ext cx="4042720" cy="6117936"/>
          </a:xfrm>
          <a:prstGeom prst="roundRect">
            <a:avLst>
              <a:gd name="adj" fmla="val 4353"/>
            </a:avLst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0006" r="-61684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EAE58EB-890A-F531-EFF3-AFFD5DED6F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9696" y="5669425"/>
            <a:ext cx="4848403" cy="2648866"/>
          </a:xfrm>
        </p:spPr>
        <p:txBody>
          <a:bodyPr lIns="0">
            <a:noAutofit/>
          </a:bodyPr>
          <a:lstStyle>
            <a:lvl1pPr marL="211792" indent="-211792">
              <a:lnSpc>
                <a:spcPct val="125000"/>
              </a:lnSpc>
              <a:spcBef>
                <a:spcPts val="0"/>
              </a:spcBef>
              <a:buFont typeface="System Font Regular"/>
              <a:buChar char="&gt;"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  <a:br>
              <a:rPr lang="en-US" dirty="0"/>
            </a:br>
            <a:endParaRPr lang="en-US" dirty="0"/>
          </a:p>
          <a:p>
            <a:pPr marL="171450" indent="-171450">
              <a:buFont typeface="System Font Regular"/>
              <a:buChar char="&gt;"/>
            </a:pPr>
            <a:r>
              <a:rPr lang="en-US" dirty="0">
                <a:effectLst/>
                <a:latin typeface="Helvetica Neue" panose="02000503000000020004" pitchFamily="2" charset="0"/>
              </a:rPr>
              <a:t>Ella conc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ricaud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firio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l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stat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a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t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issi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u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eb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rbi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stren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nuncl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gilicien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befacia</a:t>
            </a:r>
            <a:r>
              <a:rPr lang="en-US" dirty="0">
                <a:effectLst/>
                <a:latin typeface="Helvetica Neue" panose="02000503000000020004" pitchFamily="2" charset="0"/>
              </a:rPr>
              <a:t>?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iem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bsenat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rn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lus</a:t>
            </a:r>
            <a:r>
              <a:rPr lang="en-US" dirty="0">
                <a:effectLst/>
                <a:latin typeface="Helvetica Neue" panose="02000503000000020004" pitchFamily="2" charset="0"/>
              </a:rPr>
              <a:t> nos.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verc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atque</a:t>
            </a:r>
            <a:r>
              <a:rPr lang="en-US" dirty="0">
                <a:effectLst/>
                <a:latin typeface="Helvetica Neue" panose="02000503000000020004" pitchFamily="2" charset="0"/>
              </a:rPr>
              <a:t>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habu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rfex</a:t>
            </a:r>
            <a:r>
              <a:rPr lang="en-US" dirty="0">
                <a:effectLst/>
                <a:latin typeface="Helvetica Neue" panose="02000503000000020004" pitchFamily="2" charset="0"/>
              </a:rPr>
              <a:t>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x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ena</a:t>
            </a:r>
            <a:r>
              <a:rPr lang="en-US" dirty="0">
                <a:effectLst/>
                <a:latin typeface="Helvetica Neue" panose="02000503000000020004" pitchFamily="2" charset="0"/>
              </a:rPr>
              <a:t> 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d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</a:t>
            </a:r>
            <a:endParaRPr lang="en-US" dirty="0">
              <a:latin typeface="Helvetica Neue" panose="02000503000000020004" pitchFamily="2" charset="0"/>
            </a:endParaRP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latin typeface="Helvetica Neue" panose="02000503000000020004" pitchFamily="2" charset="0"/>
              </a:rPr>
              <a:t>I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gu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iss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tercep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u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d</a:t>
            </a:r>
            <a:r>
              <a:rPr lang="en-US" dirty="0">
                <a:effectLst/>
                <a:latin typeface="Helvetica Neue" panose="02000503000000020004" pitchFamily="2" charset="0"/>
              </a:rPr>
              <a:t> di senate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cavo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</a:t>
            </a:r>
            <a:endParaRPr lang="en-US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5C8AFA6C-EB34-6479-7048-14EC8EC83445}"/>
              </a:ext>
            </a:extLst>
          </p:cNvPr>
          <p:cNvSpPr/>
          <p:nvPr userDrawn="1"/>
        </p:nvSpPr>
        <p:spPr>
          <a:xfrm>
            <a:off x="692307" y="10351480"/>
            <a:ext cx="8193745" cy="2556607"/>
          </a:xfrm>
          <a:prstGeom prst="roundRect">
            <a:avLst>
              <a:gd name="adj" fmla="val 4645"/>
            </a:avLst>
          </a:prstGeom>
          <a:solidFill>
            <a:srgbClr val="F2F5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284613" indent="-284613" algn="l">
              <a:lnSpc>
                <a:spcPct val="90000"/>
              </a:lnSpc>
              <a:spcBef>
                <a:spcPts val="1235"/>
              </a:spcBef>
              <a:buClr>
                <a:schemeClr val="bg2"/>
              </a:buClr>
              <a:buFont typeface="Arial" panose="020B0604020202020204" pitchFamily="34" charset="0"/>
              <a:buChar char="&gt;"/>
            </a:pPr>
            <a:endParaRPr lang="en-US" sz="1729" dirty="0">
              <a:solidFill>
                <a:schemeClr val="bg2"/>
              </a:solidFill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708AEAB0-23E7-142D-BB9D-3579D8CAF5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2307" y="12009582"/>
            <a:ext cx="472129" cy="792018"/>
          </a:xfrm>
          <a:prstGeom prst="rect">
            <a:avLst/>
          </a:prstGeom>
        </p:spPr>
      </p:pic>
      <p:sp>
        <p:nvSpPr>
          <p:cNvPr id="38" name="Picture Placeholder 14">
            <a:extLst>
              <a:ext uri="{FF2B5EF4-FFF2-40B4-BE49-F238E27FC236}">
                <a16:creationId xmlns:a16="http://schemas.microsoft.com/office/drawing/2014/main" id="{56EB27CF-D68C-4410-6114-48AE20C08F7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090978" y="8495556"/>
            <a:ext cx="543096" cy="55955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9" name="Picture Placeholder 14">
            <a:extLst>
              <a:ext uri="{FF2B5EF4-FFF2-40B4-BE49-F238E27FC236}">
                <a16:creationId xmlns:a16="http://schemas.microsoft.com/office/drawing/2014/main" id="{FC4CE841-33CE-4F44-2199-562BC7CF00C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2852350" y="8495556"/>
            <a:ext cx="543096" cy="559553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Picture Placeholder 14">
            <a:extLst>
              <a:ext uri="{FF2B5EF4-FFF2-40B4-BE49-F238E27FC236}">
                <a16:creationId xmlns:a16="http://schemas.microsoft.com/office/drawing/2014/main" id="{F084011F-4B77-B5AA-1030-6B420BF27471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4613723" y="8495556"/>
            <a:ext cx="543096" cy="55955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4EAA3BA-C96B-BCB6-F36D-426FB0AD524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9695" y="9216667"/>
            <a:ext cx="1325658" cy="792014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988" b="1" i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b="1" dirty="0">
                <a:solidFill>
                  <a:srgbClr val="73246C"/>
                </a:solidFill>
                <a:effectLst/>
                <a:latin typeface="Acumin Pro Wide" panose="020B0505020202020204" pitchFamily="34" charset="77"/>
              </a:rPr>
              <a:t>LOREM IPSUM TECTUR AUTEM COMNISTIUM AS AUT VOLUPTA</a:t>
            </a:r>
            <a:endParaRPr lang="en-US" dirty="0">
              <a:solidFill>
                <a:srgbClr val="73246C"/>
              </a:solidFill>
              <a:effectLst/>
              <a:latin typeface="Acumin Pro Wide" panose="020B0505020202020204" pitchFamily="34" charset="77"/>
            </a:endParaRP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38B1DC48-0802-FAE8-F46A-66959FC9B38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61068" y="9216667"/>
            <a:ext cx="1325658" cy="792014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988" b="1" i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b="1" dirty="0">
                <a:solidFill>
                  <a:srgbClr val="73246C"/>
                </a:solidFill>
                <a:effectLst/>
                <a:latin typeface="Acumin Pro Wide" panose="020B0505020202020204" pitchFamily="34" charset="77"/>
              </a:rPr>
              <a:t>LOREM IPSUM TECTUR AUTEM COMNISTIUM AS AUT VOLUPTA</a:t>
            </a:r>
            <a:endParaRPr lang="en-US" dirty="0">
              <a:solidFill>
                <a:srgbClr val="73246C"/>
              </a:solidFill>
              <a:effectLst/>
              <a:latin typeface="Acumin Pro Wide" panose="020B0505020202020204" pitchFamily="34" charset="77"/>
            </a:endParaRP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8601D6C7-74BE-F0AD-4342-0B1869D7D5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222441" y="9216667"/>
            <a:ext cx="1325658" cy="792014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988" b="1" i="0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algn="ctr"/>
            <a:r>
              <a:rPr lang="en-US" b="1" dirty="0">
                <a:solidFill>
                  <a:srgbClr val="73246C"/>
                </a:solidFill>
                <a:effectLst/>
                <a:latin typeface="Acumin Pro Wide" panose="020B0505020202020204" pitchFamily="34" charset="77"/>
              </a:rPr>
              <a:t>LOREM IPSUM TECTUR AUTEM COMNISTIUM AS AUT VOLUPTA</a:t>
            </a:r>
            <a:endParaRPr lang="en-US" dirty="0">
              <a:solidFill>
                <a:srgbClr val="73246C"/>
              </a:solidFill>
              <a:effectLst/>
              <a:latin typeface="Acumin Pro Wide" panose="020B0505020202020204" pitchFamily="34" charset="77"/>
            </a:endParaRPr>
          </a:p>
        </p:txBody>
      </p:sp>
      <p:sp>
        <p:nvSpPr>
          <p:cNvPr id="2" name="Text Placeholder 31">
            <a:extLst>
              <a:ext uri="{FF2B5EF4-FFF2-40B4-BE49-F238E27FC236}">
                <a16:creationId xmlns:a16="http://schemas.microsoft.com/office/drawing/2014/main" id="{278346BB-FB55-F4D2-D9AA-C0D01B20F77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786728" y="12083217"/>
            <a:ext cx="4662590" cy="380775"/>
          </a:xfrm>
        </p:spPr>
        <p:txBody>
          <a:bodyPr lIns="0" rIns="0" anchor="b">
            <a:noAutofit/>
          </a:bodyPr>
          <a:lstStyle>
            <a:lvl1pPr marL="0" indent="0" algn="r">
              <a:lnSpc>
                <a:spcPct val="100000"/>
              </a:lnSpc>
              <a:buNone/>
              <a:defRPr sz="741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[Insert Trademark Statement]</a:t>
            </a:r>
            <a:br>
              <a:rPr lang="en-US" dirty="0"/>
            </a:br>
            <a:r>
              <a:rPr lang="en-US" dirty="0"/>
              <a:t>XXX-XXXX-XXXXXX v.1.0 XX/XX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21321DC0-9798-15DE-4B51-B749267AF4D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44753" y="10586944"/>
            <a:ext cx="7304566" cy="1445677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74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Rx Only. For safe and proper use, please refer to the Operator’s Manual or Instructions for use on the products mentioned herein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br>
              <a:rPr lang="en-US" dirty="0"/>
            </a:br>
            <a:r>
              <a:rPr lang="en-US" dirty="0"/>
              <a:t>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ferences</a:t>
            </a:r>
            <a:br>
              <a:rPr lang="en-US" dirty="0"/>
            </a:br>
            <a:r>
              <a:rPr lang="en-US" dirty="0"/>
              <a:t>1. </a:t>
            </a:r>
            <a:r>
              <a:rPr lang="en-US" dirty="0" err="1"/>
              <a:t>Aximia</a:t>
            </a:r>
            <a:r>
              <a:rPr lang="en-US" dirty="0"/>
              <a:t>,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2.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3. </a:t>
            </a:r>
            <a:r>
              <a:rPr lang="en-US" dirty="0" err="1"/>
              <a:t>Reicitat</a:t>
            </a:r>
            <a:r>
              <a:rPr lang="en-US" dirty="0"/>
              <a:t> lam quo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sapedipsam</a:t>
            </a:r>
            <a:r>
              <a:rPr lang="en-US" dirty="0"/>
              <a:t>, </a:t>
            </a:r>
            <a:r>
              <a:rPr lang="en-US" dirty="0" err="1"/>
              <a:t>tet</a:t>
            </a:r>
            <a:r>
              <a:rPr lang="en-US" dirty="0"/>
              <a:t> </a:t>
            </a:r>
            <a:r>
              <a:rPr lang="en-US" dirty="0" err="1"/>
              <a:t>dolo</a:t>
            </a:r>
            <a:r>
              <a:rPr lang="en-US" dirty="0"/>
              <a:t> et </a:t>
            </a:r>
            <a:r>
              <a:rPr lang="en-US" dirty="0" err="1"/>
              <a:t>omniet</a:t>
            </a:r>
            <a:r>
              <a:rPr lang="en-US" dirty="0"/>
              <a:t> as </a:t>
            </a:r>
            <a:r>
              <a:rPr lang="en-US" dirty="0" err="1"/>
              <a:t>dusti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FF28A6-C4ED-15F3-B16D-62964DC09730}"/>
              </a:ext>
            </a:extLst>
          </p:cNvPr>
          <p:cNvSpPr txBox="1"/>
          <p:nvPr userDrawn="1"/>
        </p:nvSpPr>
        <p:spPr>
          <a:xfrm>
            <a:off x="1144753" y="12240714"/>
            <a:ext cx="2558608" cy="1949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l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741" b="1" i="0" dirty="0" err="1">
                <a:solidFill>
                  <a:schemeClr val="accent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741" b="1" i="0" dirty="0">
              <a:solidFill>
                <a:schemeClr val="accent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38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51">
            <a:extLst>
              <a:ext uri="{FF2B5EF4-FFF2-40B4-BE49-F238E27FC236}">
                <a16:creationId xmlns:a16="http://schemas.microsoft.com/office/drawing/2014/main" id="{DB5ADDD2-C4FD-2C12-2AB5-37BE6353A47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279" y="1142100"/>
            <a:ext cx="8193747" cy="296464"/>
          </a:xfrm>
        </p:spPr>
        <p:txBody>
          <a:bodyPr lIns="0">
            <a:normAutofit/>
          </a:bodyPr>
          <a:lstStyle>
            <a:lvl1pPr marL="0" indent="0">
              <a:buNone/>
              <a:defRPr sz="2471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MOROLRUM ELLEECEST QUIS SIT AMER</a:t>
            </a:r>
          </a:p>
        </p:txBody>
      </p:sp>
      <p:sp>
        <p:nvSpPr>
          <p:cNvPr id="8" name="Text Placeholder 251">
            <a:extLst>
              <a:ext uri="{FF2B5EF4-FFF2-40B4-BE49-F238E27FC236}">
                <a16:creationId xmlns:a16="http://schemas.microsoft.com/office/drawing/2014/main" id="{DB959A41-4426-A8A8-06FA-7769C456B30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279" y="1572999"/>
            <a:ext cx="8193747" cy="296464"/>
          </a:xfrm>
        </p:spPr>
        <p:txBody>
          <a:bodyPr lIns="0">
            <a:normAutofit/>
          </a:bodyPr>
          <a:lstStyle>
            <a:lvl1pPr marL="0" indent="0">
              <a:buNone/>
              <a:defRPr sz="2471" b="0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Lorem sit dolor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orem</a:t>
            </a:r>
            <a:r>
              <a:rPr lang="en-US" dirty="0"/>
              <a:t> </a:t>
            </a:r>
            <a:r>
              <a:rPr lang="en-US" dirty="0" err="1"/>
              <a:t>optiorum</a:t>
            </a:r>
            <a:endParaRPr lang="en-US" dirty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B2B7C74-271A-28AC-3A3A-CF75CF0CFE1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9279" y="2003899"/>
            <a:ext cx="8193745" cy="711592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r>
              <a:rPr lang="en-US" dirty="0" err="1">
                <a:effectLst/>
                <a:latin typeface="Helvetica Neue" panose="02000503000000020004" pitchFamily="2" charset="0"/>
              </a:rPr>
              <a:t>Cest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me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lo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lleces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mi</a:t>
            </a:r>
            <a:r>
              <a:rPr lang="en-US" dirty="0">
                <a:effectLst/>
                <a:latin typeface="Helvetica Neue" panose="02000503000000020004" pitchFamily="2" charset="0"/>
              </a:rPr>
              <a:t>,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t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l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atiusd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sque</a:t>
            </a:r>
            <a:r>
              <a:rPr lang="en-US" dirty="0">
                <a:effectLst/>
                <a:latin typeface="Helvetica Neue" panose="02000503000000020004" pitchFamily="2" charset="0"/>
              </a:rPr>
              <a:t> pr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orep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les</a:t>
            </a:r>
            <a:r>
              <a:rPr lang="en-US" dirty="0">
                <a:effectLst/>
                <a:latin typeface="Helvetica Neue" panose="02000503000000020004" pitchFamily="2" charset="0"/>
              </a:rPr>
              <a:t> sum quo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pit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istr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nduci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s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sequ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oluptati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dessinve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iatium</a:t>
            </a:r>
            <a:r>
              <a:rPr lang="en-US" dirty="0">
                <a:effectLst/>
                <a:latin typeface="Helvetica Neue" panose="02000503000000020004" pitchFamily="2" charset="0"/>
              </a:rPr>
              <a:t> et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untia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ssequi</a:t>
            </a:r>
            <a:r>
              <a:rPr lang="en-US" dirty="0">
                <a:effectLst/>
                <a:latin typeface="Helvetica Neue" panose="02000503000000020004" pitchFamily="2" charset="0"/>
              </a:rPr>
              <a:t> co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acca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pe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quae</a:t>
            </a:r>
            <a:r>
              <a:rPr lang="en-US" dirty="0">
                <a:effectLst/>
                <a:latin typeface="Helvetica Neue" panose="02000503000000020004" pitchFamily="2" charset="0"/>
              </a:rPr>
              <a:t> dolor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bo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pori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nessint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015F013-BD55-BC45-38F4-75175736DA61}"/>
              </a:ext>
            </a:extLst>
          </p:cNvPr>
          <p:cNvGrpSpPr/>
          <p:nvPr userDrawn="1"/>
        </p:nvGrpSpPr>
        <p:grpSpPr>
          <a:xfrm>
            <a:off x="699279" y="3045218"/>
            <a:ext cx="8193745" cy="261292"/>
            <a:chOff x="566083" y="2511773"/>
            <a:chExt cx="6633032" cy="205301"/>
          </a:xfrm>
        </p:grpSpPr>
        <p:sp>
          <p:nvSpPr>
            <p:cNvPr id="12" name="Graphic 10">
              <a:extLst>
                <a:ext uri="{FF2B5EF4-FFF2-40B4-BE49-F238E27FC236}">
                  <a16:creationId xmlns:a16="http://schemas.microsoft.com/office/drawing/2014/main" id="{C4991126-61A3-1DB1-A662-914AEFF9F1E4}"/>
                </a:ext>
              </a:extLst>
            </p:cNvPr>
            <p:cNvSpPr/>
            <p:nvPr/>
          </p:nvSpPr>
          <p:spPr>
            <a:xfrm>
              <a:off x="1457454" y="2511773"/>
              <a:ext cx="586860" cy="205301"/>
            </a:xfrm>
            <a:custGeom>
              <a:avLst/>
              <a:gdLst>
                <a:gd name="connsiteX0" fmla="*/ 1406747 w 1406747"/>
                <a:gd name="connsiteY0" fmla="*/ 155599 h 492122"/>
                <a:gd name="connsiteX1" fmla="*/ 988505 w 1406747"/>
                <a:gd name="connsiteY1" fmla="*/ 0 h 492122"/>
                <a:gd name="connsiteX2" fmla="*/ 988505 w 1406747"/>
                <a:gd name="connsiteY2" fmla="*/ 151580 h 492122"/>
                <a:gd name="connsiteX3" fmla="*/ 1270826 w 1406747"/>
                <a:gd name="connsiteY3" fmla="*/ 241295 h 492122"/>
                <a:gd name="connsiteX4" fmla="*/ 988505 w 1406747"/>
                <a:gd name="connsiteY4" fmla="*/ 341290 h 492122"/>
                <a:gd name="connsiteX5" fmla="*/ 988505 w 1406747"/>
                <a:gd name="connsiteY5" fmla="*/ 492123 h 492122"/>
                <a:gd name="connsiteX6" fmla="*/ 1406747 w 1406747"/>
                <a:gd name="connsiteY6" fmla="*/ 327833 h 492122"/>
                <a:gd name="connsiteX7" fmla="*/ 1406747 w 1406747"/>
                <a:gd name="connsiteY7" fmla="*/ 155599 h 492122"/>
                <a:gd name="connsiteX8" fmla="*/ 912495 w 1406747"/>
                <a:gd name="connsiteY8" fmla="*/ 155599 h 492122"/>
                <a:gd name="connsiteX9" fmla="*/ 494252 w 1406747"/>
                <a:gd name="connsiteY9" fmla="*/ 0 h 492122"/>
                <a:gd name="connsiteX10" fmla="*/ 494252 w 1406747"/>
                <a:gd name="connsiteY10" fmla="*/ 151580 h 492122"/>
                <a:gd name="connsiteX11" fmla="*/ 776573 w 1406747"/>
                <a:gd name="connsiteY11" fmla="*/ 241295 h 492122"/>
                <a:gd name="connsiteX12" fmla="*/ 494252 w 1406747"/>
                <a:gd name="connsiteY12" fmla="*/ 341290 h 492122"/>
                <a:gd name="connsiteX13" fmla="*/ 494252 w 1406747"/>
                <a:gd name="connsiteY13" fmla="*/ 492123 h 492122"/>
                <a:gd name="connsiteX14" fmla="*/ 912495 w 1406747"/>
                <a:gd name="connsiteY14" fmla="*/ 327833 h 492122"/>
                <a:gd name="connsiteX15" fmla="*/ 912495 w 1406747"/>
                <a:gd name="connsiteY15" fmla="*/ 155599 h 492122"/>
                <a:gd name="connsiteX16" fmla="*/ 418243 w 1406747"/>
                <a:gd name="connsiteY16" fmla="*/ 155599 h 492122"/>
                <a:gd name="connsiteX17" fmla="*/ 0 w 1406747"/>
                <a:gd name="connsiteY17" fmla="*/ 0 h 492122"/>
                <a:gd name="connsiteX18" fmla="*/ 0 w 1406747"/>
                <a:gd name="connsiteY18" fmla="*/ 151580 h 492122"/>
                <a:gd name="connsiteX19" fmla="*/ 282321 w 1406747"/>
                <a:gd name="connsiteY19" fmla="*/ 241295 h 492122"/>
                <a:gd name="connsiteX20" fmla="*/ 0 w 1406747"/>
                <a:gd name="connsiteY20" fmla="*/ 341290 h 492122"/>
                <a:gd name="connsiteX21" fmla="*/ 0 w 1406747"/>
                <a:gd name="connsiteY21" fmla="*/ 492123 h 492122"/>
                <a:gd name="connsiteX22" fmla="*/ 418243 w 1406747"/>
                <a:gd name="connsiteY22" fmla="*/ 327833 h 492122"/>
                <a:gd name="connsiteX23" fmla="*/ 418243 w 1406747"/>
                <a:gd name="connsiteY23" fmla="*/ 155599 h 492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06747" h="492122">
                  <a:moveTo>
                    <a:pt x="1406747" y="155599"/>
                  </a:moveTo>
                  <a:lnTo>
                    <a:pt x="988505" y="0"/>
                  </a:lnTo>
                  <a:lnTo>
                    <a:pt x="988505" y="151580"/>
                  </a:lnTo>
                  <a:lnTo>
                    <a:pt x="1270826" y="241295"/>
                  </a:lnTo>
                  <a:lnTo>
                    <a:pt x="988505" y="341290"/>
                  </a:lnTo>
                  <a:lnTo>
                    <a:pt x="988505" y="492123"/>
                  </a:lnTo>
                  <a:lnTo>
                    <a:pt x="1406747" y="327833"/>
                  </a:lnTo>
                  <a:lnTo>
                    <a:pt x="1406747" y="155599"/>
                  </a:lnTo>
                  <a:close/>
                  <a:moveTo>
                    <a:pt x="912495" y="155599"/>
                  </a:moveTo>
                  <a:lnTo>
                    <a:pt x="494252" y="0"/>
                  </a:lnTo>
                  <a:lnTo>
                    <a:pt x="494252" y="151580"/>
                  </a:lnTo>
                  <a:lnTo>
                    <a:pt x="776573" y="241295"/>
                  </a:lnTo>
                  <a:lnTo>
                    <a:pt x="494252" y="341290"/>
                  </a:lnTo>
                  <a:lnTo>
                    <a:pt x="494252" y="492123"/>
                  </a:lnTo>
                  <a:lnTo>
                    <a:pt x="912495" y="327833"/>
                  </a:lnTo>
                  <a:lnTo>
                    <a:pt x="912495" y="155599"/>
                  </a:lnTo>
                  <a:close/>
                  <a:moveTo>
                    <a:pt x="418243" y="155599"/>
                  </a:moveTo>
                  <a:lnTo>
                    <a:pt x="0" y="0"/>
                  </a:lnTo>
                  <a:lnTo>
                    <a:pt x="0" y="151580"/>
                  </a:lnTo>
                  <a:lnTo>
                    <a:pt x="282321" y="241295"/>
                  </a:lnTo>
                  <a:lnTo>
                    <a:pt x="0" y="341290"/>
                  </a:lnTo>
                  <a:lnTo>
                    <a:pt x="0" y="492123"/>
                  </a:lnTo>
                  <a:lnTo>
                    <a:pt x="418243" y="327833"/>
                  </a:lnTo>
                  <a:lnTo>
                    <a:pt x="418243" y="155599"/>
                  </a:ln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971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117172F-20B0-3993-7983-B2A36D0EEEB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159000" y="2614423"/>
              <a:ext cx="5040115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690CBBC-2BF5-4526-5BCE-A0F4A875DD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6083" y="2614423"/>
              <a:ext cx="776685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9FA00F2-D6A6-BE33-7FAF-5118C1602DB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696" y="3636237"/>
            <a:ext cx="4848403" cy="1473268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 </a:t>
            </a:r>
            <a:r>
              <a:rPr lang="en-GB" dirty="0" err="1"/>
              <a:t>Ris</a:t>
            </a:r>
            <a:r>
              <a:rPr lang="en-GB" dirty="0"/>
              <a:t>, </a:t>
            </a:r>
            <a:r>
              <a:rPr lang="en-GB" dirty="0" err="1"/>
              <a:t>nondum</a:t>
            </a:r>
            <a:r>
              <a:rPr lang="en-GB" dirty="0"/>
              <a:t> </a:t>
            </a:r>
            <a:r>
              <a:rPr lang="en-GB" dirty="0" err="1"/>
              <a:t>disquam</a:t>
            </a:r>
            <a:r>
              <a:rPr lang="en-GB" dirty="0"/>
              <a:t> </a:t>
            </a:r>
            <a:r>
              <a:rPr lang="en-GB" dirty="0" err="1"/>
              <a:t>mendees</a:t>
            </a:r>
            <a:r>
              <a:rPr lang="en-GB" dirty="0"/>
              <a:t> </a:t>
            </a:r>
            <a:r>
              <a:rPr lang="en-GB" dirty="0" err="1"/>
              <a:t>simium</a:t>
            </a:r>
            <a:r>
              <a:rPr lang="en-GB" dirty="0"/>
              <a:t> </a:t>
            </a:r>
            <a:r>
              <a:rPr lang="en-GB" dirty="0" err="1"/>
              <a:t>eris</a:t>
            </a:r>
            <a:r>
              <a:rPr lang="en-GB" dirty="0"/>
              <a:t>; </a:t>
            </a:r>
            <a:r>
              <a:rPr lang="en-GB" dirty="0" err="1"/>
              <a:t>nes</a:t>
            </a:r>
            <a:r>
              <a:rPr lang="en-GB" dirty="0"/>
              <a:t> con se es con </a:t>
            </a:r>
            <a:r>
              <a:rPr lang="en-GB" dirty="0" err="1"/>
              <a:t>atin</a:t>
            </a:r>
            <a:r>
              <a:rPr lang="en-GB" dirty="0"/>
              <a:t> </a:t>
            </a:r>
            <a:r>
              <a:rPr lang="en-GB" dirty="0" err="1"/>
              <a:t>hebunte</a:t>
            </a:r>
            <a:r>
              <a:rPr lang="en-GB" dirty="0"/>
              <a:t> </a:t>
            </a:r>
            <a:r>
              <a:rPr lang="en-GB" dirty="0" err="1"/>
              <a:t>laberum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senihinat</a:t>
            </a:r>
            <a:r>
              <a:rPr lang="en-GB" dirty="0"/>
              <a:t>.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5A006DC7-1220-DEEF-BBCC-F865BDCC0FC0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 flipH="1">
            <a:off x="5824257" y="3636818"/>
            <a:ext cx="4042720" cy="6117936"/>
          </a:xfrm>
          <a:prstGeom prst="roundRect">
            <a:avLst>
              <a:gd name="adj" fmla="val 4353"/>
            </a:avLst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56484" r="-5650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BEAE58EB-890A-F531-EFF3-AFFD5DED6F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9696" y="5497827"/>
            <a:ext cx="4848403" cy="2387582"/>
          </a:xfrm>
        </p:spPr>
        <p:txBody>
          <a:bodyPr lIns="0">
            <a:noAutofit/>
          </a:bodyPr>
          <a:lstStyle>
            <a:lvl1pPr marL="211792" indent="-211792">
              <a:lnSpc>
                <a:spcPct val="125000"/>
              </a:lnSpc>
              <a:spcBef>
                <a:spcPts val="0"/>
              </a:spcBef>
              <a:buFont typeface="System Font Regular"/>
              <a:buChar char="&gt;"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>
                <a:effectLst/>
                <a:latin typeface="Helvetica Neue" panose="02000503000000020004" pitchFamily="2" charset="0"/>
              </a:rPr>
              <a:t>Ella conc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ricaud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firior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e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sili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stati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nata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quit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issi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tum</a:t>
            </a:r>
            <a:r>
              <a:rPr lang="en-US" dirty="0">
                <a:effectLst/>
                <a:latin typeface="Helvetica Neue" panose="02000503000000020004" pitchFamily="2" charset="0"/>
              </a:rPr>
              <a:t> in de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teba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rbit</a:t>
            </a:r>
            <a:r>
              <a:rPr lang="en-US" dirty="0">
                <a:effectLst/>
                <a:latin typeface="Helvetica Neue" panose="02000503000000020004" pitchFamily="2" charset="0"/>
              </a:rPr>
              <a:t>. 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stren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nuncl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gilicien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rebefacia</a:t>
            </a:r>
            <a:r>
              <a:rPr lang="en-US" dirty="0">
                <a:effectLst/>
                <a:latin typeface="Helvetica Neue" panose="02000503000000020004" pitchFamily="2" charset="0"/>
              </a:rPr>
              <a:t>?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piemu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t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a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obsenati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furniquam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i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lus</a:t>
            </a:r>
            <a:r>
              <a:rPr lang="en-US" dirty="0">
                <a:effectLst/>
                <a:latin typeface="Helvetica Neue" panose="02000503000000020004" pitchFamily="2" charset="0"/>
              </a:rPr>
              <a:t> nos.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effectLst/>
                <a:latin typeface="Helvetica Neue" panose="02000503000000020004" pitchFamily="2" charset="0"/>
              </a:rPr>
              <a:t>Noverc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atque</a:t>
            </a:r>
            <a:r>
              <a:rPr lang="en-US" dirty="0">
                <a:effectLst/>
                <a:latin typeface="Helvetica Neue" panose="02000503000000020004" pitchFamily="2" charset="0"/>
              </a:rPr>
              <a:t> con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am</a:t>
            </a:r>
            <a:r>
              <a:rPr lang="en-US" dirty="0">
                <a:effectLst/>
                <a:latin typeface="Helvetica Neue" panose="02000503000000020004" pitchFamily="2" charset="0"/>
              </a:rPr>
              <a:t> qu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ut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habus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verfex</a:t>
            </a:r>
            <a:r>
              <a:rPr lang="en-US" dirty="0">
                <a:effectLst/>
                <a:latin typeface="Helvetica Neue" panose="02000503000000020004" pitchFamily="2" charset="0"/>
              </a:rPr>
              <a:t> sum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x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moena</a:t>
            </a:r>
            <a:r>
              <a:rPr lang="en-US" dirty="0">
                <a:effectLst/>
                <a:latin typeface="Helvetica Neue" panose="02000503000000020004" pitchFamily="2" charset="0"/>
              </a:rPr>
              <a:t> o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ond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ns</a:t>
            </a:r>
            <a:endParaRPr lang="en-US" dirty="0">
              <a:latin typeface="Helvetica Neue" panose="02000503000000020004" pitchFamily="2" charset="0"/>
            </a:endParaRPr>
          </a:p>
          <a:p>
            <a:pPr marL="171450" indent="-171450">
              <a:buFont typeface="System Font Regular"/>
              <a:buChar char="&gt;"/>
            </a:pPr>
            <a:r>
              <a:rPr lang="en-US" dirty="0" err="1">
                <a:latin typeface="Helvetica Neue" panose="02000503000000020004" pitchFamily="2" charset="0"/>
              </a:rPr>
              <a:t>I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am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ingul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horisse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terceps</a:t>
            </a:r>
            <a:r>
              <a:rPr lang="en-US" dirty="0">
                <a:effectLst/>
                <a:latin typeface="Helvetica Neue" panose="02000503000000020004" pitchFamily="2" charset="0"/>
              </a:rPr>
              <a:t>,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o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niu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cus</a:t>
            </a:r>
            <a:r>
              <a:rPr lang="en-US" dirty="0">
                <a:effectLst/>
                <a:latin typeface="Helvetica Neue" panose="02000503000000020004" pitchFamily="2" charset="0"/>
              </a:rPr>
              <a:t>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etod</a:t>
            </a:r>
            <a:r>
              <a:rPr lang="en-US" dirty="0">
                <a:effectLst/>
                <a:latin typeface="Helvetica Neue" panose="02000503000000020004" pitchFamily="2" charset="0"/>
              </a:rPr>
              <a:t> di senate </a:t>
            </a:r>
            <a:r>
              <a:rPr lang="en-US" dirty="0" err="1">
                <a:effectLst/>
                <a:latin typeface="Helvetica Neue" panose="02000503000000020004" pitchFamily="2" charset="0"/>
              </a:rPr>
              <a:t>licavo</a:t>
            </a:r>
            <a:r>
              <a:rPr lang="en-US" dirty="0">
                <a:effectLst/>
                <a:latin typeface="Helvetica Neue" panose="02000503000000020004" pitchFamily="2" charset="0"/>
              </a:rPr>
              <a:t>.</a:t>
            </a:r>
          </a:p>
          <a:p>
            <a:pPr marL="171450" indent="-171450">
              <a:buFont typeface="System Font Regular"/>
              <a:buChar char="&gt;"/>
            </a:pP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temp </a:t>
            </a:r>
            <a:r>
              <a:rPr lang="en-US" dirty="0" err="1"/>
              <a:t>ora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</a:t>
            </a:r>
            <a:r>
              <a:rPr lang="en-US" dirty="0" err="1"/>
              <a:t>magnas</a:t>
            </a:r>
            <a:r>
              <a:rPr lang="en-US" dirty="0"/>
              <a:t> </a:t>
            </a:r>
            <a:r>
              <a:rPr lang="en-US" dirty="0" err="1"/>
              <a:t>aliqua</a:t>
            </a:r>
            <a:r>
              <a:rPr lang="en-US" dirty="0"/>
              <a:t>.</a:t>
            </a:r>
            <a:endParaRPr lang="en-US" dirty="0">
              <a:effectLst/>
              <a:latin typeface="Helvetica Neue" panose="02000503000000020004" pitchFamily="2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82318D2F-AE39-9F55-5097-5F6ABF82824A}"/>
              </a:ext>
            </a:extLst>
          </p:cNvPr>
          <p:cNvSpPr/>
          <p:nvPr userDrawn="1"/>
        </p:nvSpPr>
        <p:spPr>
          <a:xfrm>
            <a:off x="692307" y="10351480"/>
            <a:ext cx="8193745" cy="2556607"/>
          </a:xfrm>
          <a:prstGeom prst="roundRect">
            <a:avLst>
              <a:gd name="adj" fmla="val 464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284613" indent="-284613" algn="l">
              <a:lnSpc>
                <a:spcPct val="90000"/>
              </a:lnSpc>
              <a:spcBef>
                <a:spcPts val="1235"/>
              </a:spcBef>
              <a:buClr>
                <a:schemeClr val="bg2"/>
              </a:buClr>
              <a:buFont typeface="Arial" panose="020B0604020202020204" pitchFamily="34" charset="0"/>
              <a:buChar char="&gt;"/>
            </a:pPr>
            <a:endParaRPr lang="en-US" sz="1729" dirty="0">
              <a:solidFill>
                <a:schemeClr val="bg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2451FC-1906-F9AA-BA1B-22176DD1631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9696" y="8273732"/>
            <a:ext cx="4848403" cy="1473268"/>
          </a:xfrm>
        </p:spPr>
        <p:txBody>
          <a:bodyPr lIns="0">
            <a:noAutofit/>
          </a:bodyPr>
          <a:lstStyle>
            <a:lvl1pPr marL="0" indent="0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235" b="0">
                <a:solidFill>
                  <a:schemeClr val="accent2"/>
                </a:solidFill>
              </a:defRPr>
            </a:lvl1pPr>
            <a:lvl2pPr marL="360045" indent="0">
              <a:lnSpc>
                <a:spcPct val="150000"/>
              </a:lnSpc>
              <a:buNone/>
              <a:defRPr sz="1235" b="0">
                <a:solidFill>
                  <a:srgbClr val="FF0000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bg2"/>
                </a:solidFill>
              </a:defRPr>
            </a:lvl5pPr>
            <a:lvl6pPr>
              <a:buClr>
                <a:schemeClr val="bg2"/>
              </a:buClr>
              <a:defRPr>
                <a:solidFill>
                  <a:schemeClr val="bg2"/>
                </a:solidFill>
              </a:defRPr>
            </a:lvl6pPr>
            <a:lvl7pPr>
              <a:buClr>
                <a:schemeClr val="bg2"/>
              </a:buClr>
              <a:defRPr>
                <a:solidFill>
                  <a:schemeClr val="bg2"/>
                </a:solidFill>
              </a:defRPr>
            </a:lvl7pPr>
            <a:lvl8pPr>
              <a:buClr>
                <a:schemeClr val="bg2"/>
              </a:buClr>
              <a:defRPr>
                <a:solidFill>
                  <a:schemeClr val="bg2"/>
                </a:solidFill>
              </a:defRPr>
            </a:lvl8pPr>
            <a:lvl9pPr>
              <a:buClr>
                <a:schemeClr val="bg2"/>
              </a:buCl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OMPANY FACTS</a:t>
            </a:r>
          </a:p>
          <a:p>
            <a:pPr marL="0" marR="0" lvl="0" indent="0" algn="l" defTabSz="72009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 err="1"/>
              <a:t>Em</a:t>
            </a:r>
            <a:r>
              <a:rPr lang="en-GB" dirty="0"/>
              <a:t> </a:t>
            </a:r>
            <a:r>
              <a:rPr lang="en-GB" dirty="0" err="1"/>
              <a:t>cononsum</a:t>
            </a:r>
            <a:r>
              <a:rPr lang="en-GB" dirty="0"/>
              <a:t> item, </a:t>
            </a:r>
            <a:r>
              <a:rPr lang="en-GB" dirty="0" err="1"/>
              <a:t>Ti</a:t>
            </a:r>
            <a:r>
              <a:rPr lang="en-GB" dirty="0"/>
              <a:t>. Ad rem et </a:t>
            </a:r>
            <a:r>
              <a:rPr lang="en-GB" dirty="0" err="1"/>
              <a:t>orem</a:t>
            </a:r>
            <a:r>
              <a:rPr lang="en-GB" dirty="0"/>
              <a:t> </a:t>
            </a:r>
            <a:r>
              <a:rPr lang="en-GB" dirty="0" err="1"/>
              <a:t>optiorum</a:t>
            </a:r>
            <a:r>
              <a:rPr lang="en-GB" dirty="0"/>
              <a:t> </a:t>
            </a:r>
            <a:r>
              <a:rPr lang="en-GB" dirty="0" err="1"/>
              <a:t>faciocum</a:t>
            </a:r>
            <a:r>
              <a:rPr lang="en-GB" dirty="0"/>
              <a:t> </a:t>
            </a:r>
            <a:r>
              <a:rPr lang="en-GB" dirty="0" err="1"/>
              <a:t>speriss</a:t>
            </a:r>
            <a:r>
              <a:rPr lang="en-GB" dirty="0"/>
              <a:t> </a:t>
            </a:r>
            <a:r>
              <a:rPr lang="en-GB" dirty="0" err="1"/>
              <a:t>ilingultor</a:t>
            </a:r>
            <a:r>
              <a:rPr lang="en-GB" dirty="0"/>
              <a:t> </a:t>
            </a:r>
            <a:r>
              <a:rPr lang="en-GB" dirty="0" err="1"/>
              <a:t>latque</a:t>
            </a:r>
            <a:r>
              <a:rPr lang="en-GB" dirty="0"/>
              <a:t> </a:t>
            </a:r>
            <a:r>
              <a:rPr lang="en-GB" dirty="0" err="1"/>
              <a:t>consus</a:t>
            </a:r>
            <a:r>
              <a:rPr lang="en-GB" dirty="0"/>
              <a:t>, </a:t>
            </a:r>
            <a:r>
              <a:rPr lang="en-GB" dirty="0" err="1"/>
              <a:t>elum</a:t>
            </a:r>
            <a:r>
              <a:rPr lang="en-GB" dirty="0"/>
              <a:t> </a:t>
            </a:r>
            <a:r>
              <a:rPr lang="en-GB" dirty="0" err="1"/>
              <a:t>etora</a:t>
            </a:r>
            <a:r>
              <a:rPr lang="en-GB" dirty="0"/>
              <a:t> </a:t>
            </a:r>
            <a:r>
              <a:rPr lang="en-GB" dirty="0" err="1"/>
              <a:t>iae</a:t>
            </a:r>
            <a:r>
              <a:rPr lang="en-GB" dirty="0"/>
              <a:t> et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utea</a:t>
            </a:r>
            <a:r>
              <a:rPr lang="en-GB" dirty="0"/>
              <a:t> in </a:t>
            </a:r>
            <a:r>
              <a:rPr lang="en-GB" dirty="0" err="1"/>
              <a:t>horei</a:t>
            </a:r>
            <a:r>
              <a:rPr lang="en-GB" dirty="0"/>
              <a:t> </a:t>
            </a:r>
            <a:r>
              <a:rPr lang="en-GB" dirty="0" err="1"/>
              <a:t>facri</a:t>
            </a:r>
            <a:r>
              <a:rPr lang="en-GB" dirty="0"/>
              <a:t> in </a:t>
            </a:r>
            <a:r>
              <a:rPr lang="en-GB" dirty="0" err="1"/>
              <a:t>tatim</a:t>
            </a:r>
            <a:r>
              <a:rPr lang="en-GB" dirty="0"/>
              <a:t> </a:t>
            </a:r>
            <a:r>
              <a:rPr lang="en-GB" dirty="0" err="1"/>
              <a:t>huid</a:t>
            </a:r>
            <a:r>
              <a:rPr lang="en-GB" dirty="0"/>
              <a:t>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ine</a:t>
            </a:r>
            <a:r>
              <a:rPr lang="en-GB" dirty="0"/>
              <a:t> et </a:t>
            </a:r>
            <a:r>
              <a:rPr lang="en-GB" dirty="0" err="1"/>
              <a:t>iam</a:t>
            </a:r>
            <a:r>
              <a:rPr lang="en-GB" dirty="0"/>
              <a:t> </a:t>
            </a:r>
            <a:r>
              <a:rPr lang="en-GB" dirty="0" err="1"/>
              <a:t>auresta</a:t>
            </a:r>
            <a:r>
              <a:rPr lang="en-GB" dirty="0"/>
              <a:t> </a:t>
            </a:r>
            <a:r>
              <a:rPr lang="en-GB" dirty="0" err="1"/>
              <a:t>nduceriam</a:t>
            </a:r>
            <a:r>
              <a:rPr lang="en-GB" dirty="0"/>
              <a:t> in </a:t>
            </a:r>
            <a:r>
              <a:rPr lang="en-GB" dirty="0" err="1"/>
              <a:t>dem</a:t>
            </a:r>
            <a:r>
              <a:rPr lang="en-GB" dirty="0"/>
              <a:t> </a:t>
            </a:r>
            <a:r>
              <a:rPr lang="en-GB" dirty="0" err="1"/>
              <a:t>senat</a:t>
            </a:r>
            <a:r>
              <a:rPr lang="en-GB" dirty="0"/>
              <a:t>. </a:t>
            </a:r>
            <a:r>
              <a:rPr lang="en-GB" dirty="0" err="1"/>
              <a:t>Ris</a:t>
            </a:r>
            <a:r>
              <a:rPr lang="en-GB" dirty="0"/>
              <a:t>, </a:t>
            </a:r>
            <a:r>
              <a:rPr lang="en-GB" dirty="0" err="1"/>
              <a:t>nondum</a:t>
            </a:r>
            <a:r>
              <a:rPr lang="en-GB" dirty="0"/>
              <a:t> </a:t>
            </a:r>
            <a:r>
              <a:rPr lang="en-GB" dirty="0" err="1"/>
              <a:t>disquam</a:t>
            </a:r>
            <a:r>
              <a:rPr lang="en-GB" dirty="0"/>
              <a:t> </a:t>
            </a:r>
            <a:r>
              <a:rPr lang="en-GB" dirty="0" err="1"/>
              <a:t>mendees</a:t>
            </a:r>
            <a:r>
              <a:rPr lang="en-GB" dirty="0"/>
              <a:t> </a:t>
            </a:r>
            <a:r>
              <a:rPr lang="en-GB" dirty="0" err="1"/>
              <a:t>simium</a:t>
            </a:r>
            <a:r>
              <a:rPr lang="en-GB" dirty="0"/>
              <a:t> </a:t>
            </a:r>
            <a:r>
              <a:rPr lang="en-GB" dirty="0" err="1"/>
              <a:t>eris</a:t>
            </a:r>
            <a:r>
              <a:rPr lang="en-GB" dirty="0"/>
              <a:t>; </a:t>
            </a:r>
            <a:r>
              <a:rPr lang="en-GB" dirty="0" err="1"/>
              <a:t>nes</a:t>
            </a:r>
            <a:r>
              <a:rPr lang="en-GB" dirty="0"/>
              <a:t> con se es con </a:t>
            </a:r>
            <a:r>
              <a:rPr lang="en-GB" dirty="0" err="1"/>
              <a:t>atin</a:t>
            </a:r>
            <a:r>
              <a:rPr lang="en-GB" dirty="0"/>
              <a:t> </a:t>
            </a:r>
            <a:r>
              <a:rPr lang="en-GB" dirty="0" err="1"/>
              <a:t>hebunte</a:t>
            </a:r>
            <a:r>
              <a:rPr lang="en-GB" dirty="0"/>
              <a:t> </a:t>
            </a:r>
            <a:r>
              <a:rPr lang="en-GB" dirty="0" err="1"/>
              <a:t>laberum</a:t>
            </a:r>
            <a:r>
              <a:rPr lang="en-GB" dirty="0"/>
              <a:t> </a:t>
            </a:r>
            <a:r>
              <a:rPr lang="en-GB" dirty="0" err="1"/>
              <a:t>ina</a:t>
            </a:r>
            <a:r>
              <a:rPr lang="en-GB" dirty="0"/>
              <a:t>, </a:t>
            </a:r>
            <a:r>
              <a:rPr lang="en-GB" dirty="0" err="1"/>
              <a:t>fui</a:t>
            </a:r>
            <a:r>
              <a:rPr lang="en-GB" dirty="0"/>
              <a:t> </a:t>
            </a:r>
            <a:r>
              <a:rPr lang="en-GB" dirty="0" err="1"/>
              <a:t>senihinat</a:t>
            </a:r>
            <a:r>
              <a:rPr lang="en-GB" dirty="0"/>
              <a:t>.</a:t>
            </a:r>
          </a:p>
        </p:txBody>
      </p:sp>
      <p:sp>
        <p:nvSpPr>
          <p:cNvPr id="3" name="Text Placeholder 31">
            <a:extLst>
              <a:ext uri="{FF2B5EF4-FFF2-40B4-BE49-F238E27FC236}">
                <a16:creationId xmlns:a16="http://schemas.microsoft.com/office/drawing/2014/main" id="{13B30606-AF12-3696-1148-ED81CF6D082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786728" y="12113911"/>
            <a:ext cx="4662590" cy="350080"/>
          </a:xfrm>
        </p:spPr>
        <p:txBody>
          <a:bodyPr lIns="0" rIns="0" anchor="b">
            <a:noAutofit/>
          </a:bodyPr>
          <a:lstStyle>
            <a:lvl1pPr marL="0" indent="0" algn="r">
              <a:lnSpc>
                <a:spcPct val="100000"/>
              </a:lnSpc>
              <a:buNone/>
              <a:defRPr sz="741">
                <a:solidFill>
                  <a:schemeClr val="bg2"/>
                </a:solidFill>
              </a:defRPr>
            </a:lvl1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[Insert Trademark Statement]</a:t>
            </a:r>
            <a:br>
              <a:rPr lang="en-US" dirty="0"/>
            </a:br>
            <a:r>
              <a:rPr lang="en-US" dirty="0"/>
              <a:t>XXX-XXXX-XXXXXX v.1.0 XX/XX</a:t>
            </a:r>
          </a:p>
        </p:txBody>
      </p:sp>
      <p:sp>
        <p:nvSpPr>
          <p:cNvPr id="4" name="Text Placeholder 31">
            <a:extLst>
              <a:ext uri="{FF2B5EF4-FFF2-40B4-BE49-F238E27FC236}">
                <a16:creationId xmlns:a16="http://schemas.microsoft.com/office/drawing/2014/main" id="{B3DBE255-D56D-77E3-DE06-0EB23D02E6D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44753" y="10586944"/>
            <a:ext cx="7304566" cy="1445677"/>
          </a:xfrm>
        </p:spPr>
        <p:txBody>
          <a:bodyPr lIns="0" rIns="0">
            <a:noAutofit/>
          </a:bodyPr>
          <a:lstStyle>
            <a:lvl1pPr marL="0" indent="0">
              <a:lnSpc>
                <a:spcPct val="100000"/>
              </a:lnSpc>
              <a:buNone/>
              <a:defRPr sz="74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Rx Only. For safe and proper use, please refer to the Operator’s Manual or Instructions for use on the products mentioned herein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br>
              <a:rPr lang="en-US" dirty="0"/>
            </a:br>
            <a:r>
              <a:rPr lang="en-US" dirty="0"/>
              <a:t>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ferences</a:t>
            </a:r>
            <a:br>
              <a:rPr lang="en-US" dirty="0"/>
            </a:br>
            <a:r>
              <a:rPr lang="en-US" dirty="0"/>
              <a:t>1. </a:t>
            </a:r>
            <a:r>
              <a:rPr lang="en-US" dirty="0" err="1"/>
              <a:t>Aximia</a:t>
            </a:r>
            <a:r>
              <a:rPr lang="en-US" dirty="0"/>
              <a:t>,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2. </a:t>
            </a:r>
            <a:r>
              <a:rPr lang="en-US" dirty="0" err="1"/>
              <a:t>Offic</a:t>
            </a:r>
            <a:r>
              <a:rPr lang="en-US" dirty="0"/>
              <a:t> </a:t>
            </a:r>
            <a:r>
              <a:rPr lang="en-US" dirty="0" err="1"/>
              <a:t>toribus</a:t>
            </a:r>
            <a:r>
              <a:rPr lang="en-US" dirty="0"/>
              <a:t> </a:t>
            </a:r>
            <a:r>
              <a:rPr lang="en-US" dirty="0" err="1"/>
              <a:t>torumqu</a:t>
            </a:r>
            <a:r>
              <a:rPr lang="en-US" dirty="0"/>
              <a:t> </a:t>
            </a:r>
            <a:r>
              <a:rPr lang="en-US" dirty="0" err="1"/>
              <a:t>iationseria</a:t>
            </a:r>
            <a:r>
              <a:rPr lang="en-US" dirty="0"/>
              <a:t> </a:t>
            </a:r>
            <a:r>
              <a:rPr lang="en-US" dirty="0" err="1"/>
              <a:t>sanitat</a:t>
            </a:r>
            <a:r>
              <a:rPr lang="en-US" dirty="0"/>
              <a:t> </a:t>
            </a:r>
            <a:r>
              <a:rPr lang="en-US" dirty="0" err="1"/>
              <a:t>iorepudi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3. </a:t>
            </a:r>
            <a:r>
              <a:rPr lang="en-US" dirty="0" err="1"/>
              <a:t>Reicitat</a:t>
            </a:r>
            <a:r>
              <a:rPr lang="en-US" dirty="0"/>
              <a:t> lam quo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sapedipsam</a:t>
            </a:r>
            <a:r>
              <a:rPr lang="en-US" dirty="0"/>
              <a:t>, </a:t>
            </a:r>
            <a:r>
              <a:rPr lang="en-US" dirty="0" err="1"/>
              <a:t>tet</a:t>
            </a:r>
            <a:r>
              <a:rPr lang="en-US" dirty="0"/>
              <a:t> </a:t>
            </a:r>
            <a:r>
              <a:rPr lang="en-US" dirty="0" err="1"/>
              <a:t>dolo</a:t>
            </a:r>
            <a:r>
              <a:rPr lang="en-US" dirty="0"/>
              <a:t> et </a:t>
            </a:r>
            <a:r>
              <a:rPr lang="en-US" dirty="0" err="1"/>
              <a:t>omniet</a:t>
            </a:r>
            <a:r>
              <a:rPr lang="en-US" dirty="0"/>
              <a:t> as </a:t>
            </a:r>
            <a:r>
              <a:rPr lang="en-US" dirty="0" err="1"/>
              <a:t>dusti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EEC94B-21D4-D450-14A0-C5752CCB861D}"/>
              </a:ext>
            </a:extLst>
          </p:cNvPr>
          <p:cNvSpPr txBox="1"/>
          <p:nvPr userDrawn="1"/>
        </p:nvSpPr>
        <p:spPr>
          <a:xfrm>
            <a:off x="1144753" y="12240714"/>
            <a:ext cx="2558608" cy="1949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indent="0" algn="l">
              <a:lnSpc>
                <a:spcPct val="90000"/>
              </a:lnSpc>
              <a:spcBef>
                <a:spcPts val="1235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US" sz="741" b="1" i="0" dirty="0" err="1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antive.com</a:t>
            </a:r>
            <a:endParaRPr lang="en-US" sz="741" b="1" i="0" dirty="0">
              <a:solidFill>
                <a:schemeClr val="bg2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6874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4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オブジェクト 1" hidden="1"/>
          <p:cNvGraphicFramePr>
            <a:graphicFrameLocks noChangeAspect="1"/>
          </p:cNvGraphicFramePr>
          <p:nvPr/>
        </p:nvGraphicFramePr>
        <p:xfrm>
          <a:off x="2223" y="2052"/>
          <a:ext cx="2223" cy="20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98" imgH="499" progId="TCLayout.ActiveDocument.1">
                  <p:embed/>
                </p:oleObj>
              </mc:Choice>
              <mc:Fallback>
                <p:oleObj name="think-cell スライド" r:id="rId4" imgW="498" imgH="499" progId="TCLayout.ActiveDocument.1">
                  <p:embed/>
                  <p:pic>
                    <p:nvPicPr>
                      <p:cNvPr id="1025" name="オブジェクト 1" hidden="1"/>
                      <p:cNvPicPr>
                        <a:picLocks noChangeAspect="1"/>
                      </p:cNvPicPr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3" y="2052"/>
                        <a:ext cx="2223" cy="20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正方形/長方形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051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3901" b="0" i="0" baseline="0" err="1">
              <a:latin typeface="Franklin Gothic Demi" panose="020B0703020102020204" pitchFamily="34" charset="0"/>
              <a:ea typeface="ＭＳ Ｐゴシック" panose="020B0600070205080204" pitchFamily="50" charset="-128"/>
              <a:cs typeface="+mj-cs"/>
              <a:sym typeface="Franklin Gothic Demi" panose="020B0703020102020204" pitchFamily="34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>
          <a:xfrm>
            <a:off x="660256" y="681575"/>
            <a:ext cx="8280691" cy="247438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>
          <a:xfrm>
            <a:off x="660256" y="3407833"/>
            <a:ext cx="8280691" cy="81224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pic>
        <p:nvPicPr>
          <p:cNvPr id="1029" name="図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601200" cy="12801600"/>
          </a:xfrm>
          <a:prstGeom prst="rect">
            <a:avLst/>
          </a:prstGeom>
        </p:spPr>
      </p:pic>
      <p:pic>
        <p:nvPicPr>
          <p:cNvPr id="3" name="図 2" descr="挿絵, 時計, 光 が含まれている画像&#10;&#10;自動的に生成された説明">
            <a:extLst>
              <a:ext uri="{FF2B5EF4-FFF2-40B4-BE49-F238E27FC236}">
                <a16:creationId xmlns:a16="http://schemas.microsoft.com/office/drawing/2014/main" id="{31E53A1A-6739-4F85-A4F3-334D310D9FE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85" y="397690"/>
            <a:ext cx="2050868" cy="31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49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hf hdr="0" dt="0"/>
  <p:txStyles>
    <p:titleStyle>
      <a:lvl1pPr algn="l" defTabSz="990866" rtl="0" eaLnBrk="1" latinLnBrk="0" hangingPunct="1">
        <a:lnSpc>
          <a:spcPct val="90000"/>
        </a:lnSpc>
        <a:spcBef>
          <a:spcPct val="0"/>
        </a:spcBef>
        <a:buNone/>
        <a:defRPr sz="39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866" rtl="0" eaLnBrk="1" latinLnBrk="0" hangingPunct="1">
        <a:lnSpc>
          <a:spcPct val="100000"/>
        </a:lnSpc>
        <a:spcBef>
          <a:spcPts val="624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495434" indent="-247717" algn="l" defTabSz="990866" rtl="0" eaLnBrk="1" latinLnBrk="0" hangingPunct="1">
        <a:lnSpc>
          <a:spcPct val="100000"/>
        </a:lnSpc>
        <a:spcBef>
          <a:spcPts val="468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745102" indent="-247717" algn="l" defTabSz="990866" rtl="0" eaLnBrk="1" latinLnBrk="0" hangingPunct="1">
        <a:lnSpc>
          <a:spcPct val="100000"/>
        </a:lnSpc>
        <a:spcBef>
          <a:spcPts val="468"/>
        </a:spcBef>
        <a:buFont typeface="Courier New" panose="02070309020205020404" pitchFamily="49" charset="0"/>
        <a:buChar char="o"/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088393" indent="-296479" algn="l" defTabSz="990866" rtl="0" eaLnBrk="1" latinLnBrk="0" hangingPunct="1">
        <a:lnSpc>
          <a:spcPct val="100000"/>
        </a:lnSpc>
        <a:spcBef>
          <a:spcPts val="468"/>
        </a:spcBef>
        <a:buFont typeface="Arial" panose="020B0604020202020204" pitchFamily="34" charset="0"/>
        <a:buChar char="‒"/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388773" indent="-296479" algn="l" defTabSz="990866" rtl="0" eaLnBrk="1" latinLnBrk="0" hangingPunct="1">
        <a:lnSpc>
          <a:spcPct val="100000"/>
        </a:lnSpc>
        <a:spcBef>
          <a:spcPts val="468"/>
        </a:spcBef>
        <a:buFont typeface="Arial" panose="020B0604020202020204" pitchFamily="34" charset="0"/>
        <a:buChar char="»"/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724882" indent="-247717" algn="l" defTabSz="990866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rgbClr val="FF0000"/>
          </a:solidFill>
          <a:latin typeface="+mn-lt"/>
          <a:ea typeface="+mn-ea"/>
          <a:cs typeface="+mn-cs"/>
        </a:defRPr>
      </a:lvl6pPr>
      <a:lvl7pPr marL="3220316" indent="-247717" algn="l" defTabSz="990866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5751" indent="-247717" algn="l" defTabSz="990866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11181" indent="-247717" algn="l" defTabSz="990866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434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866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6299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734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7166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2600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8033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3465" algn="l" defTabSz="990866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49A18D-C254-C0E5-2090-E1C857690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85" y="681570"/>
            <a:ext cx="8281035" cy="2474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A92B84-5231-73D6-5C06-C9B60C778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085" y="3407834"/>
            <a:ext cx="8281035" cy="81224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D91BDB-5221-F401-63DC-C60F9CD58B1E}"/>
              </a:ext>
            </a:extLst>
          </p:cNvPr>
          <p:cNvGrpSpPr/>
          <p:nvPr userDrawn="1"/>
        </p:nvGrpSpPr>
        <p:grpSpPr>
          <a:xfrm>
            <a:off x="-2085331" y="7672380"/>
            <a:ext cx="1781220" cy="2206805"/>
            <a:chOff x="-358333" y="-694129"/>
            <a:chExt cx="1024344" cy="118221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CDA3ADD9-C0FF-251A-2299-E1C24CF08DD3}"/>
                </a:ext>
              </a:extLst>
            </p:cNvPr>
            <p:cNvSpPr>
              <a:spLocks noEditPoints="1"/>
            </p:cNvSpPr>
            <p:nvPr/>
          </p:nvSpPr>
          <p:spPr bwMode="gray">
            <a:xfrm flipH="1">
              <a:off x="-212513" y="-600808"/>
              <a:ext cx="292899" cy="351430"/>
            </a:xfrm>
            <a:custGeom>
              <a:avLst/>
              <a:gdLst>
                <a:gd name="T0" fmla="*/ 1778 w 7111"/>
                <a:gd name="T1" fmla="*/ 1600 h 8533"/>
                <a:gd name="T2" fmla="*/ 1955 w 7111"/>
                <a:gd name="T3" fmla="*/ 1422 h 8533"/>
                <a:gd name="T4" fmla="*/ 2625 w 7111"/>
                <a:gd name="T5" fmla="*/ 1600 h 8533"/>
                <a:gd name="T6" fmla="*/ 1956 w 7111"/>
                <a:gd name="T7" fmla="*/ 1778 h 8533"/>
                <a:gd name="T8" fmla="*/ 1778 w 7111"/>
                <a:gd name="T9" fmla="*/ 1600 h 8533"/>
                <a:gd name="T10" fmla="*/ 4622 w 7111"/>
                <a:gd name="T11" fmla="*/ 1600 h 8533"/>
                <a:gd name="T12" fmla="*/ 4445 w 7111"/>
                <a:gd name="T13" fmla="*/ 1778 h 8533"/>
                <a:gd name="T14" fmla="*/ 3775 w 7111"/>
                <a:gd name="T15" fmla="*/ 1600 h 8533"/>
                <a:gd name="T16" fmla="*/ 4444 w 7111"/>
                <a:gd name="T17" fmla="*/ 1422 h 8533"/>
                <a:gd name="T18" fmla="*/ 4622 w 7111"/>
                <a:gd name="T19" fmla="*/ 1600 h 8533"/>
                <a:gd name="T20" fmla="*/ 6715 w 7111"/>
                <a:gd name="T21" fmla="*/ 4085 h 8533"/>
                <a:gd name="T22" fmla="*/ 5120 w 7111"/>
                <a:gd name="T23" fmla="*/ 3022 h 8533"/>
                <a:gd name="T24" fmla="*/ 3946 w 7111"/>
                <a:gd name="T25" fmla="*/ 3022 h 8533"/>
                <a:gd name="T26" fmla="*/ 3911 w 7111"/>
                <a:gd name="T27" fmla="*/ 3046 h 8533"/>
                <a:gd name="T28" fmla="*/ 3911 w 7111"/>
                <a:gd name="T29" fmla="*/ 2012 h 8533"/>
                <a:gd name="T30" fmla="*/ 4444 w 7111"/>
                <a:gd name="T31" fmla="*/ 2133 h 8533"/>
                <a:gd name="T32" fmla="*/ 4978 w 7111"/>
                <a:gd name="T33" fmla="*/ 1600 h 8533"/>
                <a:gd name="T34" fmla="*/ 4444 w 7111"/>
                <a:gd name="T35" fmla="*/ 1067 h 8533"/>
                <a:gd name="T36" fmla="*/ 3911 w 7111"/>
                <a:gd name="T37" fmla="*/ 1188 h 8533"/>
                <a:gd name="T38" fmla="*/ 3911 w 7111"/>
                <a:gd name="T39" fmla="*/ 711 h 8533"/>
                <a:gd name="T40" fmla="*/ 3200 w 7111"/>
                <a:gd name="T41" fmla="*/ 0 h 8533"/>
                <a:gd name="T42" fmla="*/ 2489 w 7111"/>
                <a:gd name="T43" fmla="*/ 711 h 8533"/>
                <a:gd name="T44" fmla="*/ 2489 w 7111"/>
                <a:gd name="T45" fmla="*/ 1188 h 8533"/>
                <a:gd name="T46" fmla="*/ 1956 w 7111"/>
                <a:gd name="T47" fmla="*/ 1067 h 8533"/>
                <a:gd name="T48" fmla="*/ 1422 w 7111"/>
                <a:gd name="T49" fmla="*/ 1600 h 8533"/>
                <a:gd name="T50" fmla="*/ 1956 w 7111"/>
                <a:gd name="T51" fmla="*/ 2133 h 8533"/>
                <a:gd name="T52" fmla="*/ 2489 w 7111"/>
                <a:gd name="T53" fmla="*/ 2012 h 8533"/>
                <a:gd name="T54" fmla="*/ 2489 w 7111"/>
                <a:gd name="T55" fmla="*/ 5469 h 8533"/>
                <a:gd name="T56" fmla="*/ 2405 w 7111"/>
                <a:gd name="T57" fmla="*/ 5620 h 8533"/>
                <a:gd name="T58" fmla="*/ 2232 w 7111"/>
                <a:gd name="T59" fmla="*/ 5628 h 8533"/>
                <a:gd name="T60" fmla="*/ 1090 w 7111"/>
                <a:gd name="T61" fmla="*/ 5057 h 8533"/>
                <a:gd name="T62" fmla="*/ 753 w 7111"/>
                <a:gd name="T63" fmla="*/ 4978 h 8533"/>
                <a:gd name="T64" fmla="*/ 0 w 7111"/>
                <a:gd name="T65" fmla="*/ 5731 h 8533"/>
                <a:gd name="T66" fmla="*/ 0 w 7111"/>
                <a:gd name="T67" fmla="*/ 5867 h 8533"/>
                <a:gd name="T68" fmla="*/ 56 w 7111"/>
                <a:gd name="T69" fmla="*/ 5997 h 8533"/>
                <a:gd name="T70" fmla="*/ 2108 w 7111"/>
                <a:gd name="T71" fmla="*/ 7912 h 8533"/>
                <a:gd name="T72" fmla="*/ 3685 w 7111"/>
                <a:gd name="T73" fmla="*/ 8533 h 8533"/>
                <a:gd name="T74" fmla="*/ 5333 w 7111"/>
                <a:gd name="T75" fmla="*/ 8533 h 8533"/>
                <a:gd name="T76" fmla="*/ 7111 w 7111"/>
                <a:gd name="T77" fmla="*/ 6756 h 8533"/>
                <a:gd name="T78" fmla="*/ 7111 w 7111"/>
                <a:gd name="T79" fmla="*/ 4825 h 8533"/>
                <a:gd name="T80" fmla="*/ 6715 w 7111"/>
                <a:gd name="T81" fmla="*/ 4085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111" h="8533">
                  <a:moveTo>
                    <a:pt x="1778" y="1600"/>
                  </a:moveTo>
                  <a:cubicBezTo>
                    <a:pt x="1778" y="1502"/>
                    <a:pt x="1857" y="1422"/>
                    <a:pt x="1955" y="1422"/>
                  </a:cubicBezTo>
                  <a:cubicBezTo>
                    <a:pt x="2025" y="1423"/>
                    <a:pt x="2304" y="1500"/>
                    <a:pt x="2625" y="1600"/>
                  </a:cubicBezTo>
                  <a:cubicBezTo>
                    <a:pt x="2304" y="1700"/>
                    <a:pt x="2026" y="1777"/>
                    <a:pt x="1956" y="1778"/>
                  </a:cubicBezTo>
                  <a:cubicBezTo>
                    <a:pt x="1857" y="1778"/>
                    <a:pt x="1778" y="1698"/>
                    <a:pt x="1778" y="1600"/>
                  </a:cubicBezTo>
                  <a:close/>
                  <a:moveTo>
                    <a:pt x="4622" y="1600"/>
                  </a:moveTo>
                  <a:cubicBezTo>
                    <a:pt x="4622" y="1698"/>
                    <a:pt x="4543" y="1778"/>
                    <a:pt x="4445" y="1778"/>
                  </a:cubicBezTo>
                  <a:cubicBezTo>
                    <a:pt x="4375" y="1777"/>
                    <a:pt x="4096" y="1700"/>
                    <a:pt x="3775" y="1600"/>
                  </a:cubicBezTo>
                  <a:cubicBezTo>
                    <a:pt x="4096" y="1500"/>
                    <a:pt x="4374" y="1423"/>
                    <a:pt x="4444" y="1422"/>
                  </a:cubicBezTo>
                  <a:cubicBezTo>
                    <a:pt x="4543" y="1422"/>
                    <a:pt x="4622" y="1502"/>
                    <a:pt x="4622" y="1600"/>
                  </a:cubicBezTo>
                  <a:close/>
                  <a:moveTo>
                    <a:pt x="6715" y="4085"/>
                  </a:moveTo>
                  <a:lnTo>
                    <a:pt x="5120" y="3022"/>
                  </a:lnTo>
                  <a:cubicBezTo>
                    <a:pt x="4772" y="2790"/>
                    <a:pt x="4294" y="2790"/>
                    <a:pt x="3946" y="3022"/>
                  </a:cubicBezTo>
                  <a:lnTo>
                    <a:pt x="3911" y="3046"/>
                  </a:lnTo>
                  <a:lnTo>
                    <a:pt x="3911" y="2012"/>
                  </a:lnTo>
                  <a:cubicBezTo>
                    <a:pt x="4141" y="2079"/>
                    <a:pt x="4353" y="2133"/>
                    <a:pt x="4444" y="2133"/>
                  </a:cubicBezTo>
                  <a:cubicBezTo>
                    <a:pt x="4739" y="2133"/>
                    <a:pt x="4978" y="1894"/>
                    <a:pt x="4978" y="1600"/>
                  </a:cubicBezTo>
                  <a:cubicBezTo>
                    <a:pt x="4978" y="1306"/>
                    <a:pt x="4739" y="1067"/>
                    <a:pt x="4444" y="1067"/>
                  </a:cubicBezTo>
                  <a:cubicBezTo>
                    <a:pt x="4353" y="1067"/>
                    <a:pt x="4141" y="1121"/>
                    <a:pt x="3911" y="1188"/>
                  </a:cubicBezTo>
                  <a:lnTo>
                    <a:pt x="3911" y="711"/>
                  </a:lnTo>
                  <a:cubicBezTo>
                    <a:pt x="3911" y="319"/>
                    <a:pt x="3592" y="0"/>
                    <a:pt x="3200" y="0"/>
                  </a:cubicBezTo>
                  <a:cubicBezTo>
                    <a:pt x="2808" y="0"/>
                    <a:pt x="2489" y="319"/>
                    <a:pt x="2489" y="711"/>
                  </a:cubicBezTo>
                  <a:lnTo>
                    <a:pt x="2489" y="1188"/>
                  </a:lnTo>
                  <a:cubicBezTo>
                    <a:pt x="2259" y="1121"/>
                    <a:pt x="2047" y="1067"/>
                    <a:pt x="1956" y="1067"/>
                  </a:cubicBezTo>
                  <a:cubicBezTo>
                    <a:pt x="1661" y="1067"/>
                    <a:pt x="1422" y="1306"/>
                    <a:pt x="1422" y="1600"/>
                  </a:cubicBezTo>
                  <a:cubicBezTo>
                    <a:pt x="1422" y="1894"/>
                    <a:pt x="1661" y="2133"/>
                    <a:pt x="1956" y="2133"/>
                  </a:cubicBezTo>
                  <a:cubicBezTo>
                    <a:pt x="2047" y="2133"/>
                    <a:pt x="2259" y="2079"/>
                    <a:pt x="2489" y="2012"/>
                  </a:cubicBezTo>
                  <a:lnTo>
                    <a:pt x="2489" y="5469"/>
                  </a:lnTo>
                  <a:cubicBezTo>
                    <a:pt x="2489" y="5559"/>
                    <a:pt x="2430" y="5605"/>
                    <a:pt x="2405" y="5620"/>
                  </a:cubicBezTo>
                  <a:cubicBezTo>
                    <a:pt x="2379" y="5636"/>
                    <a:pt x="2311" y="5668"/>
                    <a:pt x="2232" y="5628"/>
                  </a:cubicBezTo>
                  <a:lnTo>
                    <a:pt x="1090" y="5057"/>
                  </a:lnTo>
                  <a:cubicBezTo>
                    <a:pt x="986" y="5005"/>
                    <a:pt x="869" y="4978"/>
                    <a:pt x="753" y="4978"/>
                  </a:cubicBezTo>
                  <a:cubicBezTo>
                    <a:pt x="338" y="4978"/>
                    <a:pt x="0" y="5316"/>
                    <a:pt x="0" y="5731"/>
                  </a:cubicBezTo>
                  <a:lnTo>
                    <a:pt x="0" y="5867"/>
                  </a:lnTo>
                  <a:cubicBezTo>
                    <a:pt x="0" y="5916"/>
                    <a:pt x="20" y="5963"/>
                    <a:pt x="56" y="5997"/>
                  </a:cubicBezTo>
                  <a:lnTo>
                    <a:pt x="2108" y="7912"/>
                  </a:lnTo>
                  <a:cubicBezTo>
                    <a:pt x="2538" y="8313"/>
                    <a:pt x="3098" y="8533"/>
                    <a:pt x="3685" y="8533"/>
                  </a:cubicBezTo>
                  <a:lnTo>
                    <a:pt x="5333" y="8533"/>
                  </a:lnTo>
                  <a:cubicBezTo>
                    <a:pt x="6314" y="8533"/>
                    <a:pt x="7111" y="7736"/>
                    <a:pt x="7111" y="6756"/>
                  </a:cubicBezTo>
                  <a:lnTo>
                    <a:pt x="7111" y="4825"/>
                  </a:lnTo>
                  <a:cubicBezTo>
                    <a:pt x="7111" y="4527"/>
                    <a:pt x="6963" y="4251"/>
                    <a:pt x="6715" y="4085"/>
                  </a:cubicBezTo>
                  <a:close/>
                </a:path>
              </a:pathLst>
            </a:custGeom>
            <a:solidFill>
              <a:srgbClr val="100F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18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2B1CC3F-0A9C-757E-665C-964B1E89F5B0}"/>
                </a:ext>
              </a:extLst>
            </p:cNvPr>
            <p:cNvSpPr txBox="1"/>
            <p:nvPr/>
          </p:nvSpPr>
          <p:spPr bwMode="gray">
            <a:xfrm>
              <a:off x="-346705" y="20652"/>
              <a:ext cx="1012716" cy="46743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en-GB" sz="945" dirty="0">
                  <a:solidFill>
                    <a:srgbClr val="000000"/>
                  </a:solidFill>
                </a:rPr>
                <a:t>A number of corporate </a:t>
              </a:r>
              <a:r>
                <a:rPr lang="en-GB" sz="945" dirty="0" err="1">
                  <a:solidFill>
                    <a:srgbClr val="000000"/>
                  </a:solidFill>
                </a:rPr>
                <a:t>colors</a:t>
              </a:r>
              <a:r>
                <a:rPr lang="en-GB" sz="945" dirty="0">
                  <a:solidFill>
                    <a:srgbClr val="000000"/>
                  </a:solidFill>
                </a:rPr>
                <a:t> have already been set within this presentation for ease of use. When selecting a colour opt for the top row of colours on the Palette titled ‘Theme </a:t>
              </a:r>
              <a:r>
                <a:rPr lang="en-GB" sz="945" dirty="0" err="1">
                  <a:solidFill>
                    <a:srgbClr val="000000"/>
                  </a:solidFill>
                </a:rPr>
                <a:t>Colors</a:t>
              </a:r>
              <a:r>
                <a:rPr lang="en-GB" sz="945" dirty="0">
                  <a:solidFill>
                    <a:srgbClr val="000000"/>
                  </a:solidFill>
                </a:rPr>
                <a:t>’. </a:t>
              </a:r>
            </a:p>
          </p:txBody>
        </p:sp>
        <p:sp>
          <p:nvSpPr>
            <p:cNvPr id="30" name="Donut 24">
              <a:extLst>
                <a:ext uri="{FF2B5EF4-FFF2-40B4-BE49-F238E27FC236}">
                  <a16:creationId xmlns:a16="http://schemas.microsoft.com/office/drawing/2014/main" id="{62706A17-48CB-3280-AFA4-3F8C708B942E}"/>
                </a:ext>
              </a:extLst>
            </p:cNvPr>
            <p:cNvSpPr/>
            <p:nvPr userDrawn="1"/>
          </p:nvSpPr>
          <p:spPr bwMode="gray">
            <a:xfrm>
              <a:off x="-346706" y="-694129"/>
              <a:ext cx="540060" cy="540060"/>
            </a:xfrm>
            <a:prstGeom prst="donut">
              <a:avLst>
                <a:gd name="adj" fmla="val 7083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18">
                <a:solidFill>
                  <a:schemeClr val="tx1"/>
                </a:solidFill>
              </a:endParaRPr>
            </a:p>
          </p:txBody>
        </p:sp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BB2C29E4-B7B1-D92B-7984-60E6E861A63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-358333" y="-424099"/>
              <a:ext cx="155642" cy="338230"/>
            </a:xfrm>
            <a:custGeom>
              <a:avLst/>
              <a:gdLst>
                <a:gd name="T0" fmla="*/ 469 w 613"/>
                <a:gd name="T1" fmla="*/ 0 h 1333"/>
                <a:gd name="T2" fmla="*/ 603 w 613"/>
                <a:gd name="T3" fmla="*/ 131 h 1333"/>
                <a:gd name="T4" fmla="*/ 424 w 613"/>
                <a:gd name="T5" fmla="*/ 298 h 1333"/>
                <a:gd name="T6" fmla="*/ 293 w 613"/>
                <a:gd name="T7" fmla="*/ 165 h 1333"/>
                <a:gd name="T8" fmla="*/ 469 w 613"/>
                <a:gd name="T9" fmla="*/ 0 h 1333"/>
                <a:gd name="T10" fmla="*/ 194 w 613"/>
                <a:gd name="T11" fmla="*/ 1333 h 1333"/>
                <a:gd name="T12" fmla="*/ 121 w 613"/>
                <a:gd name="T13" fmla="*/ 1098 h 1333"/>
                <a:gd name="T14" fmla="*/ 202 w 613"/>
                <a:gd name="T15" fmla="*/ 759 h 1333"/>
                <a:gd name="T16" fmla="*/ 202 w 613"/>
                <a:gd name="T17" fmla="*/ 683 h 1333"/>
                <a:gd name="T18" fmla="*/ 35 w 613"/>
                <a:gd name="T19" fmla="*/ 757 h 1333"/>
                <a:gd name="T20" fmla="*/ 0 w 613"/>
                <a:gd name="T21" fmla="*/ 699 h 1333"/>
                <a:gd name="T22" fmla="*/ 453 w 613"/>
                <a:gd name="T23" fmla="*/ 468 h 1333"/>
                <a:gd name="T24" fmla="*/ 500 w 613"/>
                <a:gd name="T25" fmla="*/ 683 h 1333"/>
                <a:gd name="T26" fmla="*/ 408 w 613"/>
                <a:gd name="T27" fmla="*/ 1040 h 1333"/>
                <a:gd name="T28" fmla="*/ 415 w 613"/>
                <a:gd name="T29" fmla="*/ 1125 h 1333"/>
                <a:gd name="T30" fmla="*/ 573 w 613"/>
                <a:gd name="T31" fmla="*/ 1044 h 1333"/>
                <a:gd name="T32" fmla="*/ 613 w 613"/>
                <a:gd name="T33" fmla="*/ 1098 h 1333"/>
                <a:gd name="T34" fmla="*/ 194 w 613"/>
                <a:gd name="T35" fmla="*/ 1333 h 1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3" h="1333">
                  <a:moveTo>
                    <a:pt x="469" y="0"/>
                  </a:moveTo>
                  <a:cubicBezTo>
                    <a:pt x="558" y="0"/>
                    <a:pt x="603" y="61"/>
                    <a:pt x="603" y="131"/>
                  </a:cubicBezTo>
                  <a:cubicBezTo>
                    <a:pt x="603" y="217"/>
                    <a:pt x="525" y="298"/>
                    <a:pt x="424" y="298"/>
                  </a:cubicBezTo>
                  <a:cubicBezTo>
                    <a:pt x="340" y="298"/>
                    <a:pt x="290" y="248"/>
                    <a:pt x="293" y="165"/>
                  </a:cubicBezTo>
                  <a:cubicBezTo>
                    <a:pt x="293" y="96"/>
                    <a:pt x="351" y="0"/>
                    <a:pt x="469" y="0"/>
                  </a:cubicBezTo>
                  <a:close/>
                  <a:moveTo>
                    <a:pt x="194" y="1333"/>
                  </a:moveTo>
                  <a:cubicBezTo>
                    <a:pt x="123" y="1333"/>
                    <a:pt x="72" y="1290"/>
                    <a:pt x="121" y="1098"/>
                  </a:cubicBezTo>
                  <a:lnTo>
                    <a:pt x="202" y="759"/>
                  </a:lnTo>
                  <a:cubicBezTo>
                    <a:pt x="216" y="705"/>
                    <a:pt x="218" y="683"/>
                    <a:pt x="202" y="683"/>
                  </a:cubicBezTo>
                  <a:cubicBezTo>
                    <a:pt x="181" y="683"/>
                    <a:pt x="89" y="721"/>
                    <a:pt x="35" y="757"/>
                  </a:cubicBezTo>
                  <a:lnTo>
                    <a:pt x="0" y="699"/>
                  </a:lnTo>
                  <a:cubicBezTo>
                    <a:pt x="171" y="553"/>
                    <a:pt x="369" y="468"/>
                    <a:pt x="453" y="468"/>
                  </a:cubicBezTo>
                  <a:cubicBezTo>
                    <a:pt x="524" y="468"/>
                    <a:pt x="536" y="552"/>
                    <a:pt x="500" y="683"/>
                  </a:cubicBezTo>
                  <a:lnTo>
                    <a:pt x="408" y="1040"/>
                  </a:lnTo>
                  <a:cubicBezTo>
                    <a:pt x="391" y="1103"/>
                    <a:pt x="398" y="1125"/>
                    <a:pt x="415" y="1125"/>
                  </a:cubicBezTo>
                  <a:cubicBezTo>
                    <a:pt x="436" y="1125"/>
                    <a:pt x="505" y="1098"/>
                    <a:pt x="573" y="1044"/>
                  </a:cubicBezTo>
                  <a:lnTo>
                    <a:pt x="613" y="1098"/>
                  </a:lnTo>
                  <a:cubicBezTo>
                    <a:pt x="446" y="1268"/>
                    <a:pt x="264" y="1333"/>
                    <a:pt x="194" y="133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18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D90A9B6-BC46-1E50-4FE0-C2517BE377E7}"/>
              </a:ext>
            </a:extLst>
          </p:cNvPr>
          <p:cNvGrpSpPr/>
          <p:nvPr userDrawn="1"/>
        </p:nvGrpSpPr>
        <p:grpSpPr>
          <a:xfrm>
            <a:off x="-2085335" y="224116"/>
            <a:ext cx="1781220" cy="3104294"/>
            <a:chOff x="9284399" y="2626465"/>
            <a:chExt cx="1024345" cy="1663015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1B5E0FCB-89CF-64F8-4DCD-E8689C6AEC98}"/>
                </a:ext>
              </a:extLst>
            </p:cNvPr>
            <p:cNvGrpSpPr/>
            <p:nvPr/>
          </p:nvGrpSpPr>
          <p:grpSpPr>
            <a:xfrm>
              <a:off x="9285029" y="2626465"/>
              <a:ext cx="551687" cy="608260"/>
              <a:chOff x="9285029" y="2626465"/>
              <a:chExt cx="551687" cy="608260"/>
            </a:xfrm>
          </p:grpSpPr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574B00E0-9A9B-A3AB-CD1D-4D24B89E5E8D}"/>
                  </a:ext>
                </a:extLst>
              </p:cNvPr>
              <p:cNvSpPr/>
              <p:nvPr/>
            </p:nvSpPr>
            <p:spPr>
              <a:xfrm>
                <a:off x="9371147" y="2799251"/>
                <a:ext cx="368759" cy="207450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/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38D01FF9-153A-CA5F-9B4A-D29D7FFC7B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89470" y="2822301"/>
                <a:ext cx="52029" cy="29270"/>
              </a:xfrm>
              <a:prstGeom prst="rect">
                <a:avLst/>
              </a:prstGeom>
              <a:solidFill>
                <a:srgbClr val="000000"/>
              </a:solidFill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/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6AA11A7-942A-7D4E-8DBB-015EC13D240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89470" y="2875990"/>
                <a:ext cx="52029" cy="29270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/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162A0D0C-A871-C553-DCB1-18478DF6C32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389470" y="2929679"/>
                <a:ext cx="52029" cy="29270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354CE67C-1A7E-49F8-1B5A-0F5D9C0664D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389470" y="2983368"/>
                <a:ext cx="52029" cy="23047"/>
              </a:xfrm>
              <a:prstGeom prst="rect">
                <a:avLst/>
              </a:prstGeom>
              <a:noFill/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/>
              </a:p>
            </p:txBody>
          </p: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78C4956D-02DF-B548-377B-7C3016A0D1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63347" y="2799251"/>
                <a:ext cx="0" cy="207450"/>
              </a:xfrm>
              <a:prstGeom prst="line">
                <a:avLst/>
              </a:prstGeom>
              <a:ln w="1270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33479EA-7B61-062F-76B2-6905FE533DB8}"/>
                  </a:ext>
                </a:extLst>
              </p:cNvPr>
              <p:cNvGrpSpPr/>
              <p:nvPr/>
            </p:nvGrpSpPr>
            <p:grpSpPr>
              <a:xfrm>
                <a:off x="9509455" y="2825812"/>
                <a:ext cx="173433" cy="97567"/>
                <a:chOff x="9720476" y="1722658"/>
                <a:chExt cx="270899" cy="97567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F44F84CE-287F-9E57-E584-14BE406E725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9720476" y="1722658"/>
                  <a:ext cx="270899" cy="97567"/>
                </a:xfrm>
                <a:prstGeom prst="rect">
                  <a:avLst/>
                </a:prstGeom>
                <a:solidFill>
                  <a:schemeClr val="tx1"/>
                </a:solidFill>
                <a:ln w="12700">
                  <a:solidFill>
                    <a:srgbClr val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418"/>
                </a:p>
              </p:txBody>
            </p: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6BD96EAA-A345-F63E-7078-5335F263D568}"/>
                    </a:ext>
                  </a:extLst>
                </p:cNvPr>
                <p:cNvCxnSpPr/>
                <p:nvPr/>
              </p:nvCxnSpPr>
              <p:spPr>
                <a:xfrm>
                  <a:off x="9747915" y="1744682"/>
                  <a:ext cx="216022" cy="0"/>
                </a:xfrm>
                <a:prstGeom prst="line">
                  <a:avLst/>
                </a:prstGeom>
                <a:ln w="1270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803037AC-8EF6-5BBC-CDCA-6293CB5A81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810532" y="1770736"/>
                  <a:ext cx="153404" cy="0"/>
                </a:xfrm>
                <a:prstGeom prst="line">
                  <a:avLst/>
                </a:prstGeom>
                <a:ln w="1270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>
                  <a:extLst>
                    <a:ext uri="{FF2B5EF4-FFF2-40B4-BE49-F238E27FC236}">
                      <a16:creationId xmlns:a16="http://schemas.microsoft.com/office/drawing/2014/main" id="{214ABB36-B3F1-4FDD-558C-2EFFE5D42B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810538" y="1797691"/>
                  <a:ext cx="153404" cy="0"/>
                </a:xfrm>
                <a:prstGeom prst="line">
                  <a:avLst/>
                </a:prstGeom>
                <a:ln w="1270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>
                  <a:extLst>
                    <a:ext uri="{FF2B5EF4-FFF2-40B4-BE49-F238E27FC236}">
                      <a16:creationId xmlns:a16="http://schemas.microsoft.com/office/drawing/2014/main" id="{D6C0169F-E165-8047-E9C0-9E4D82D618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47912" y="1771442"/>
                  <a:ext cx="35999" cy="0"/>
                </a:xfrm>
                <a:prstGeom prst="line">
                  <a:avLst/>
                </a:prstGeom>
                <a:ln w="1270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>
                  <a:extLst>
                    <a:ext uri="{FF2B5EF4-FFF2-40B4-BE49-F238E27FC236}">
                      <a16:creationId xmlns:a16="http://schemas.microsoft.com/office/drawing/2014/main" id="{4C8D520C-AB1D-7A97-5E32-E67C8C827C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748012" y="1797691"/>
                  <a:ext cx="35999" cy="0"/>
                </a:xfrm>
                <a:prstGeom prst="line">
                  <a:avLst/>
                </a:prstGeom>
                <a:ln w="12700">
                  <a:solidFill>
                    <a:srgbClr val="FFFF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2F1DF4BB-6AD8-476C-781F-51E72787C59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463347" y="2958949"/>
                <a:ext cx="276569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Donut 24">
                <a:extLst>
                  <a:ext uri="{FF2B5EF4-FFF2-40B4-BE49-F238E27FC236}">
                    <a16:creationId xmlns:a16="http://schemas.microsoft.com/office/drawing/2014/main" id="{2BBB033A-EB64-709A-E9E5-9FF054C52248}"/>
                  </a:ext>
                </a:extLst>
              </p:cNvPr>
              <p:cNvSpPr/>
              <p:nvPr/>
            </p:nvSpPr>
            <p:spPr bwMode="gray">
              <a:xfrm>
                <a:off x="9296656" y="2626465"/>
                <a:ext cx="540060" cy="540060"/>
              </a:xfrm>
              <a:prstGeom prst="donut">
                <a:avLst>
                  <a:gd name="adj" fmla="val 7083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18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Freeform 5">
                <a:extLst>
                  <a:ext uri="{FF2B5EF4-FFF2-40B4-BE49-F238E27FC236}">
                    <a16:creationId xmlns:a16="http://schemas.microsoft.com/office/drawing/2014/main" id="{2A2D9648-2D0A-A770-8159-A0D10C0B5CA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285029" y="2896495"/>
                <a:ext cx="155642" cy="338230"/>
              </a:xfrm>
              <a:custGeom>
                <a:avLst/>
                <a:gdLst>
                  <a:gd name="T0" fmla="*/ 469 w 613"/>
                  <a:gd name="T1" fmla="*/ 0 h 1333"/>
                  <a:gd name="T2" fmla="*/ 603 w 613"/>
                  <a:gd name="T3" fmla="*/ 131 h 1333"/>
                  <a:gd name="T4" fmla="*/ 424 w 613"/>
                  <a:gd name="T5" fmla="*/ 298 h 1333"/>
                  <a:gd name="T6" fmla="*/ 293 w 613"/>
                  <a:gd name="T7" fmla="*/ 165 h 1333"/>
                  <a:gd name="T8" fmla="*/ 469 w 613"/>
                  <a:gd name="T9" fmla="*/ 0 h 1333"/>
                  <a:gd name="T10" fmla="*/ 194 w 613"/>
                  <a:gd name="T11" fmla="*/ 1333 h 1333"/>
                  <a:gd name="T12" fmla="*/ 121 w 613"/>
                  <a:gd name="T13" fmla="*/ 1098 h 1333"/>
                  <a:gd name="T14" fmla="*/ 202 w 613"/>
                  <a:gd name="T15" fmla="*/ 759 h 1333"/>
                  <a:gd name="T16" fmla="*/ 202 w 613"/>
                  <a:gd name="T17" fmla="*/ 683 h 1333"/>
                  <a:gd name="T18" fmla="*/ 35 w 613"/>
                  <a:gd name="T19" fmla="*/ 757 h 1333"/>
                  <a:gd name="T20" fmla="*/ 0 w 613"/>
                  <a:gd name="T21" fmla="*/ 699 h 1333"/>
                  <a:gd name="T22" fmla="*/ 453 w 613"/>
                  <a:gd name="T23" fmla="*/ 468 h 1333"/>
                  <a:gd name="T24" fmla="*/ 500 w 613"/>
                  <a:gd name="T25" fmla="*/ 683 h 1333"/>
                  <a:gd name="T26" fmla="*/ 408 w 613"/>
                  <a:gd name="T27" fmla="*/ 1040 h 1333"/>
                  <a:gd name="T28" fmla="*/ 415 w 613"/>
                  <a:gd name="T29" fmla="*/ 1125 h 1333"/>
                  <a:gd name="T30" fmla="*/ 573 w 613"/>
                  <a:gd name="T31" fmla="*/ 1044 h 1333"/>
                  <a:gd name="T32" fmla="*/ 613 w 613"/>
                  <a:gd name="T33" fmla="*/ 1098 h 1333"/>
                  <a:gd name="T34" fmla="*/ 194 w 613"/>
                  <a:gd name="T35" fmla="*/ 1333 h 1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3" h="1333">
                    <a:moveTo>
                      <a:pt x="469" y="0"/>
                    </a:moveTo>
                    <a:cubicBezTo>
                      <a:pt x="558" y="0"/>
                      <a:pt x="603" y="61"/>
                      <a:pt x="603" y="131"/>
                    </a:cubicBezTo>
                    <a:cubicBezTo>
                      <a:pt x="603" y="217"/>
                      <a:pt x="525" y="298"/>
                      <a:pt x="424" y="298"/>
                    </a:cubicBezTo>
                    <a:cubicBezTo>
                      <a:pt x="340" y="298"/>
                      <a:pt x="290" y="248"/>
                      <a:pt x="293" y="165"/>
                    </a:cubicBezTo>
                    <a:cubicBezTo>
                      <a:pt x="293" y="96"/>
                      <a:pt x="351" y="0"/>
                      <a:pt x="469" y="0"/>
                    </a:cubicBezTo>
                    <a:close/>
                    <a:moveTo>
                      <a:pt x="194" y="1333"/>
                    </a:moveTo>
                    <a:cubicBezTo>
                      <a:pt x="123" y="1333"/>
                      <a:pt x="72" y="1290"/>
                      <a:pt x="121" y="1098"/>
                    </a:cubicBezTo>
                    <a:lnTo>
                      <a:pt x="202" y="759"/>
                    </a:lnTo>
                    <a:cubicBezTo>
                      <a:pt x="216" y="705"/>
                      <a:pt x="218" y="683"/>
                      <a:pt x="202" y="683"/>
                    </a:cubicBezTo>
                    <a:cubicBezTo>
                      <a:pt x="181" y="683"/>
                      <a:pt x="89" y="721"/>
                      <a:pt x="35" y="757"/>
                    </a:cubicBezTo>
                    <a:lnTo>
                      <a:pt x="0" y="699"/>
                    </a:lnTo>
                    <a:cubicBezTo>
                      <a:pt x="171" y="553"/>
                      <a:pt x="369" y="468"/>
                      <a:pt x="453" y="468"/>
                    </a:cubicBezTo>
                    <a:cubicBezTo>
                      <a:pt x="524" y="468"/>
                      <a:pt x="536" y="552"/>
                      <a:pt x="500" y="683"/>
                    </a:cubicBezTo>
                    <a:lnTo>
                      <a:pt x="408" y="1040"/>
                    </a:lnTo>
                    <a:cubicBezTo>
                      <a:pt x="391" y="1103"/>
                      <a:pt x="398" y="1125"/>
                      <a:pt x="415" y="1125"/>
                    </a:cubicBezTo>
                    <a:cubicBezTo>
                      <a:pt x="436" y="1125"/>
                      <a:pt x="505" y="1098"/>
                      <a:pt x="573" y="1044"/>
                    </a:cubicBezTo>
                    <a:lnTo>
                      <a:pt x="613" y="1098"/>
                    </a:lnTo>
                    <a:cubicBezTo>
                      <a:pt x="446" y="1268"/>
                      <a:pt x="264" y="1333"/>
                      <a:pt x="194" y="133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18"/>
              </a:p>
            </p:txBody>
          </p:sp>
        </p:grp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AF2616E-FEB6-B21E-754A-8D6BD4117054}"/>
                </a:ext>
              </a:extLst>
            </p:cNvPr>
            <p:cNvSpPr txBox="1"/>
            <p:nvPr/>
          </p:nvSpPr>
          <p:spPr bwMode="gray">
            <a:xfrm>
              <a:off x="9284399" y="3354609"/>
              <a:ext cx="1024345" cy="9348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945" dirty="0">
                  <a:solidFill>
                    <a:srgbClr val="000000"/>
                  </a:solidFill>
                </a:rPr>
                <a:t>A number of pre-designed layouts have been built to allow you to successfully select the right layout you require. </a:t>
              </a:r>
              <a:br>
                <a:rPr lang="en-GB" sz="945" dirty="0">
                  <a:solidFill>
                    <a:srgbClr val="000000"/>
                  </a:solidFill>
                </a:rPr>
              </a:br>
              <a:br>
                <a:rPr lang="en-GB" sz="945" dirty="0">
                  <a:solidFill>
                    <a:srgbClr val="000000"/>
                  </a:solidFill>
                </a:rPr>
              </a:br>
              <a:r>
                <a:rPr lang="en-GB" sz="945" dirty="0">
                  <a:solidFill>
                    <a:srgbClr val="000000"/>
                  </a:solidFill>
                </a:rPr>
                <a:t>To select a layout…</a:t>
              </a:r>
            </a:p>
            <a:p>
              <a:r>
                <a:rPr lang="en-GB" sz="945" dirty="0">
                  <a:solidFill>
                    <a:srgbClr val="000000"/>
                  </a:solidFill>
                </a:rPr>
                <a:t>(In Normal screen mode)</a:t>
              </a:r>
            </a:p>
            <a:p>
              <a:r>
                <a:rPr lang="en-GB" sz="945" dirty="0">
                  <a:solidFill>
                    <a:srgbClr val="000000"/>
                  </a:solidFill>
                </a:rPr>
                <a:t>&gt;Home</a:t>
              </a:r>
            </a:p>
            <a:p>
              <a:r>
                <a:rPr lang="en-GB" sz="945" dirty="0">
                  <a:solidFill>
                    <a:srgbClr val="000000"/>
                  </a:solidFill>
                </a:rPr>
                <a:t>&gt;New Slide</a:t>
              </a:r>
            </a:p>
            <a:p>
              <a:r>
                <a:rPr lang="en-GB" sz="945" dirty="0">
                  <a:solidFill>
                    <a:srgbClr val="000000"/>
                  </a:solidFill>
                </a:rPr>
                <a:t>(here you will see the predefined layouts you can choose from)</a:t>
              </a:r>
            </a:p>
            <a:p>
              <a:r>
                <a:rPr lang="en-GB" sz="945" dirty="0">
                  <a:solidFill>
                    <a:srgbClr val="000000"/>
                  </a:solidFill>
                </a:rPr>
                <a:t>&gt;Click the desired layout</a:t>
              </a:r>
              <a:endParaRPr lang="en-GB" sz="866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99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</p:sldLayoutIdLst>
  <p:hf hdr="0"/>
  <p:txStyles>
    <p:titleStyle>
      <a:lvl1pPr algn="l" defTabSz="720090" rtl="0" eaLnBrk="1" latinLnBrk="0" hangingPunct="1">
        <a:lnSpc>
          <a:spcPct val="90000"/>
        </a:lnSpc>
        <a:spcBef>
          <a:spcPct val="0"/>
        </a:spcBef>
        <a:buNone/>
        <a:defRPr sz="2205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2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1pPr>
      <a:lvl2pPr marL="54006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2pPr>
      <a:lvl3pPr marL="900112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3pPr>
      <a:lvl4pPr marL="126015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4pPr>
      <a:lvl5pPr marL="162020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5pPr>
      <a:lvl6pPr marL="1980249" indent="-180023" algn="l" defTabSz="720090" rtl="0" eaLnBrk="1" latinLnBrk="0" hangingPunct="1">
        <a:lnSpc>
          <a:spcPct val="90000"/>
        </a:lnSpc>
        <a:spcBef>
          <a:spcPts val="394"/>
        </a:spcBef>
        <a:buClr>
          <a:schemeClr val="accent2"/>
        </a:buClr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6pPr>
      <a:lvl7pPr marL="2340294" indent="-180023" algn="l" defTabSz="720090" rtl="0" eaLnBrk="1" latinLnBrk="0" hangingPunct="1">
        <a:lnSpc>
          <a:spcPct val="90000"/>
        </a:lnSpc>
        <a:spcBef>
          <a:spcPts val="394"/>
        </a:spcBef>
        <a:buClr>
          <a:schemeClr val="accent2"/>
        </a:buClr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7pPr>
      <a:lvl8pPr marL="2700340" indent="-180023" algn="l" defTabSz="720090" rtl="0" eaLnBrk="1" latinLnBrk="0" hangingPunct="1">
        <a:lnSpc>
          <a:spcPct val="90000"/>
        </a:lnSpc>
        <a:spcBef>
          <a:spcPts val="394"/>
        </a:spcBef>
        <a:buClr>
          <a:schemeClr val="accent2"/>
        </a:buClr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8pPr>
      <a:lvl9pPr marL="3060385" indent="-180023" algn="l" defTabSz="720090" rtl="0" eaLnBrk="1" latinLnBrk="0" hangingPunct="1">
        <a:lnSpc>
          <a:spcPct val="90000"/>
        </a:lnSpc>
        <a:spcBef>
          <a:spcPts val="394"/>
        </a:spcBef>
        <a:buClr>
          <a:schemeClr val="accent2"/>
        </a:buClr>
        <a:buFont typeface="Arial" panose="020B0604020202020204" pitchFamily="34" charset="0"/>
        <a:buChar char="&gt;"/>
        <a:defRPr sz="1103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2pPr>
      <a:lvl3pPr marL="72009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6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440182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800226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160272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7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2880363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8">
          <p15:clr>
            <a:srgbClr val="F26B43"/>
          </p15:clr>
        </p15:guide>
        <p15:guide id="2" pos="24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tsutomu_Onishi@baxter.com" TargetMode="Externa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895B02C-6EA1-3495-3D02-816FAA3DEC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808" y="1261473"/>
            <a:ext cx="8193747" cy="1395175"/>
          </a:xfrm>
        </p:spPr>
        <p:txBody>
          <a:bodyPr/>
          <a:lstStyle/>
          <a:p>
            <a:pPr algn="ctr"/>
            <a:r>
              <a:rPr lang="ja-JP" altLang="en-US" sz="6600" b="1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区民公開講座</a:t>
            </a:r>
            <a:r>
              <a:rPr lang="zh-TW" altLang="en-US" sz="6600" b="1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4CBFEB5-720A-CC0C-7C99-9ACB64A796B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0305" y="1126802"/>
            <a:ext cx="8193747" cy="472847"/>
          </a:xfrm>
        </p:spPr>
        <p:txBody>
          <a:bodyPr>
            <a:normAutofit/>
          </a:bodyPr>
          <a:lstStyle/>
          <a:p>
            <a:r>
              <a:rPr lang="en-US" altLang="ja-JP" dirty="0"/>
              <a:t>2025</a:t>
            </a:r>
            <a:r>
              <a:rPr lang="ja-JP" altLang="en-US" dirty="0"/>
              <a:t>年</a:t>
            </a:r>
            <a:r>
              <a:rPr lang="en-US" altLang="ja-JP" dirty="0"/>
              <a:t>5</a:t>
            </a:r>
            <a:r>
              <a:rPr lang="ja-JP" altLang="en-US" dirty="0"/>
              <a:t>月</a:t>
            </a:r>
            <a:r>
              <a:rPr lang="en-US" altLang="ja-JP" dirty="0"/>
              <a:t>17</a:t>
            </a:r>
            <a:r>
              <a:rPr lang="ja-JP" altLang="en-US" dirty="0"/>
              <a:t>日</a:t>
            </a:r>
            <a:r>
              <a:rPr lang="en-US" altLang="ja-JP" dirty="0"/>
              <a:t>(</a:t>
            </a:r>
            <a:r>
              <a:rPr lang="ja-JP" altLang="en-US" dirty="0"/>
              <a:t>土曜</a:t>
            </a:r>
            <a:r>
              <a:rPr lang="en-US" altLang="ja-JP" dirty="0"/>
              <a:t>)</a:t>
            </a:r>
            <a:r>
              <a:rPr lang="ja-JP" altLang="en-US" dirty="0"/>
              <a:t>　</a:t>
            </a:r>
            <a:r>
              <a:rPr lang="en-US" altLang="ja-JP" dirty="0"/>
              <a:t>10:30</a:t>
            </a:r>
            <a:r>
              <a:rPr lang="ja-JP" altLang="en-US" dirty="0"/>
              <a:t>～</a:t>
            </a:r>
            <a:r>
              <a:rPr lang="en-US" altLang="ja-JP" dirty="0"/>
              <a:t>11:30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2C4FE4F-A1F9-27F6-D46C-848DC40EFEF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9808" y="2595024"/>
            <a:ext cx="6120846" cy="1417435"/>
          </a:xfrm>
        </p:spPr>
        <p:txBody>
          <a:bodyPr/>
          <a:lstStyle/>
          <a:p>
            <a:pPr>
              <a:defRPr/>
            </a:pPr>
            <a:r>
              <a:rPr lang="ja-JP" altLang="en-US" sz="1976" b="1" dirty="0">
                <a:solidFill>
                  <a:schemeClr val="accent1"/>
                </a:solidFill>
                <a:latin typeface="Noto Sans JP Black" panose="020B0200000000000000" pitchFamily="50" charset="-128"/>
                <a:ea typeface="Noto Sans JP Black" panose="020B0200000000000000" pitchFamily="50" charset="-128"/>
              </a:rPr>
              <a:t>会場　江戸川区総合文化センター</a:t>
            </a:r>
            <a:endParaRPr lang="en-US" altLang="ja-JP" sz="1976" b="1" dirty="0">
              <a:solidFill>
                <a:schemeClr val="accent1"/>
              </a:solidFill>
              <a:latin typeface="Noto Sans JP Black" panose="020B0200000000000000" pitchFamily="50" charset="-128"/>
              <a:ea typeface="Noto Sans JP Black" panose="020B0200000000000000" pitchFamily="50" charset="-128"/>
            </a:endParaRPr>
          </a:p>
          <a:p>
            <a:pPr>
              <a:defRPr/>
            </a:pPr>
            <a:r>
              <a:rPr lang="ja-JP" altLang="en-US" sz="1976" b="1" dirty="0">
                <a:solidFill>
                  <a:schemeClr val="accent1"/>
                </a:solidFill>
                <a:latin typeface="Noto Sans JP Black" panose="020B0200000000000000" pitchFamily="50" charset="-128"/>
                <a:ea typeface="Noto Sans JP Black" panose="020B0200000000000000" pitchFamily="50" charset="-128"/>
              </a:rPr>
              <a:t>参加費：無料　（先着順受付：</a:t>
            </a:r>
            <a:r>
              <a:rPr lang="en-US" altLang="ja-JP" sz="1976" b="1" dirty="0">
                <a:solidFill>
                  <a:schemeClr val="accent1"/>
                </a:solidFill>
                <a:latin typeface="Noto Sans JP Black" panose="020B0200000000000000" pitchFamily="50" charset="-128"/>
                <a:ea typeface="Noto Sans JP Black" panose="020B0200000000000000" pitchFamily="50" charset="-128"/>
              </a:rPr>
              <a:t>100</a:t>
            </a:r>
            <a:r>
              <a:rPr lang="ja-JP" altLang="en-US" sz="1976" b="1" dirty="0">
                <a:solidFill>
                  <a:schemeClr val="accent1"/>
                </a:solidFill>
                <a:latin typeface="Noto Sans JP Black" panose="020B0200000000000000" pitchFamily="50" charset="-128"/>
                <a:ea typeface="Noto Sans JP Black" panose="020B0200000000000000" pitchFamily="50" charset="-128"/>
              </a:rPr>
              <a:t>名）　　　　　　　　　</a:t>
            </a:r>
            <a:endParaRPr lang="en-US" dirty="0"/>
          </a:p>
          <a:p>
            <a:pPr algn="just"/>
            <a:r>
              <a:rPr lang="ja-JP" altLang="en-US" sz="1976" b="1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ＭＳ Ｐゴシック" panose="020B0600070205080204" pitchFamily="50" charset="-128"/>
              </a:rPr>
              <a:t>江戸川区総合文化センター　　２</a:t>
            </a:r>
            <a:r>
              <a:rPr lang="en-US" altLang="ja-JP" sz="1976" b="1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ＭＳ Ｐゴシック" panose="020B0600070205080204" pitchFamily="50" charset="-128"/>
              </a:rPr>
              <a:t>F </a:t>
            </a:r>
            <a:r>
              <a:rPr lang="ja-JP" altLang="en-US" sz="1976" b="1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ＭＳ Ｐゴシック" panose="020B0600070205080204" pitchFamily="50" charset="-128"/>
              </a:rPr>
              <a:t>会議室</a:t>
            </a:r>
            <a:endParaRPr lang="en-US" altLang="ja-JP" sz="1976" b="1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ＭＳ Ｐゴシック" panose="020B0600070205080204" pitchFamily="50" charset="-128"/>
            </a:endParaRPr>
          </a:p>
          <a:p>
            <a:pPr algn="just"/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江戸川区中央</a:t>
            </a:r>
            <a:r>
              <a:rPr lang="en-US" altLang="ja-JP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4</a:t>
            </a:r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丁目</a:t>
            </a:r>
            <a:r>
              <a:rPr lang="en-US" altLang="ja-JP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4-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81D73E6-677B-A8D0-FC5A-29AEB4C592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07578" y="4904082"/>
            <a:ext cx="7206260" cy="513766"/>
          </a:xfrm>
        </p:spPr>
        <p:txBody>
          <a:bodyPr/>
          <a:lstStyle/>
          <a:p>
            <a:r>
              <a:rPr lang="ja-JP" altLang="en-US" sz="1976" b="1" dirty="0">
                <a:solidFill>
                  <a:srgbClr val="FF0000"/>
                </a:solidFill>
                <a:latin typeface="Noto Sans JP Black" panose="020B0200000000000000" pitchFamily="50" charset="-128"/>
                <a:ea typeface="Noto Sans JP Black" panose="020B0200000000000000" pitchFamily="50" charset="-128"/>
              </a:rPr>
              <a:t>プログラム</a:t>
            </a:r>
            <a:endParaRPr lang="en-US" sz="1976" b="1" dirty="0">
              <a:solidFill>
                <a:srgbClr val="FF0000"/>
              </a:solidFill>
              <a:latin typeface="Noto Sans JP Black" panose="020B0200000000000000" pitchFamily="50" charset="-128"/>
              <a:ea typeface="Noto Sans JP Black" panose="020B0200000000000000" pitchFamily="50" charset="-128"/>
            </a:endParaRPr>
          </a:p>
        </p:txBody>
      </p:sp>
      <p:sp>
        <p:nvSpPr>
          <p:cNvPr id="29" name="Text Placeholder 251">
            <a:extLst>
              <a:ext uri="{FF2B5EF4-FFF2-40B4-BE49-F238E27FC236}">
                <a16:creationId xmlns:a16="http://schemas.microsoft.com/office/drawing/2014/main" id="{2A4E8F19-74D6-8D03-022D-7F765D4C5AE2}"/>
              </a:ext>
            </a:extLst>
          </p:cNvPr>
          <p:cNvSpPr txBox="1">
            <a:spLocks/>
          </p:cNvSpPr>
          <p:nvPr/>
        </p:nvSpPr>
        <p:spPr>
          <a:xfrm>
            <a:off x="2880451" y="-2244976"/>
            <a:ext cx="8193747" cy="472847"/>
          </a:xfrm>
          <a:prstGeom prst="rect">
            <a:avLst/>
          </a:prstGeom>
        </p:spPr>
        <p:txBody>
          <a:bodyPr vert="horz" lIns="0" tIns="56478" rIns="112955" bIns="56478" rtlCol="0">
            <a:normAutofit/>
          </a:bodyPr>
          <a:lstStyle>
            <a:lvl1pPr marL="0" indent="0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37196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728659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020123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311587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603051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894515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2185979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2477443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accent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20090">
              <a:spcBef>
                <a:spcPts val="394"/>
              </a:spcBef>
            </a:pPr>
            <a:endParaRPr kumimoji="0" lang="en-US" sz="2471" dirty="0">
              <a:solidFill>
                <a:srgbClr val="115742"/>
              </a:solidFill>
              <a:latin typeface="Arial"/>
            </a:endParaRPr>
          </a:p>
        </p:txBody>
      </p:sp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7DB7A2A6-A660-E41C-2EE3-2B223A644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00971"/>
              </p:ext>
            </p:extLst>
          </p:nvPr>
        </p:nvGraphicFramePr>
        <p:xfrm>
          <a:off x="4181" y="5346010"/>
          <a:ext cx="9525000" cy="4955498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984243">
                  <a:extLst>
                    <a:ext uri="{9D8B030D-6E8A-4147-A177-3AD203B41FA5}">
                      <a16:colId xmlns:a16="http://schemas.microsoft.com/office/drawing/2014/main" val="2168821219"/>
                    </a:ext>
                  </a:extLst>
                </a:gridCol>
                <a:gridCol w="3540757">
                  <a:extLst>
                    <a:ext uri="{9D8B030D-6E8A-4147-A177-3AD203B41FA5}">
                      <a16:colId xmlns:a16="http://schemas.microsoft.com/office/drawing/2014/main" val="4290184902"/>
                    </a:ext>
                  </a:extLst>
                </a:gridCol>
              </a:tblGrid>
              <a:tr h="758308">
                <a:tc>
                  <a:txBody>
                    <a:bodyPr/>
                    <a:lstStyle/>
                    <a:p>
                      <a:r>
                        <a:rPr kumimoji="1" lang="en-US" altLang="ja-JP" sz="2400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0:30</a:t>
                      </a:r>
                      <a:r>
                        <a:rPr kumimoji="1" lang="ja-JP" altLang="en-US" sz="2400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～</a:t>
                      </a:r>
                      <a:r>
                        <a:rPr kumimoji="1" lang="en-US" altLang="ja-JP" sz="2400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0:35 </a:t>
                      </a:r>
                    </a:p>
                    <a:p>
                      <a:r>
                        <a:rPr kumimoji="1" lang="ja-JP" altLang="en-US" sz="2400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　開会の辞</a:t>
                      </a:r>
                    </a:p>
                  </a:txBody>
                  <a:tcPr marL="112955" marR="112955" marT="56478" marB="56478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en-US" altLang="ja-JP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NPO</a:t>
                      </a:r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法人　東京腎臓病協議会会長　戸倉　振一</a:t>
                      </a:r>
                    </a:p>
                  </a:txBody>
                  <a:tcPr marL="112955" marR="112955" marT="56478" marB="56478" anchor="ctr"/>
                </a:tc>
                <a:extLst>
                  <a:ext uri="{0D108BD9-81ED-4DB2-BD59-A6C34878D82A}">
                    <a16:rowId xmlns:a16="http://schemas.microsoft.com/office/drawing/2014/main" val="2157418975"/>
                  </a:ext>
                </a:extLst>
              </a:tr>
              <a:tr h="1086747">
                <a:tc>
                  <a:txBody>
                    <a:bodyPr/>
                    <a:lstStyle/>
                    <a:p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0:35</a:t>
                      </a:r>
                      <a:r>
                        <a:rPr kumimoji="1" lang="ja-JP" altLang="en-US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～</a:t>
                      </a:r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1:00</a:t>
                      </a:r>
                    </a:p>
                    <a:p>
                      <a:r>
                        <a:rPr lang="ja-JP" altLang="ja-JP" sz="2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Noto Sans JP Black" panose="020B0200000000000000"/>
                          <a:cs typeface="+mn-cs"/>
                        </a:rPr>
                        <a:t>「透析はゴールじゃない 〜クリニックと</a:t>
                      </a:r>
                      <a:endParaRPr lang="en-US" altLang="ja-JP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Noto Sans JP Black" panose="020B0200000000000000"/>
                        <a:cs typeface="+mn-cs"/>
                      </a:endParaRPr>
                    </a:p>
                    <a:p>
                      <a:r>
                        <a:rPr lang="en-US" altLang="ja-JP" sz="2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Noto Sans JP Black" panose="020B0200000000000000"/>
                          <a:cs typeface="+mn-cs"/>
                        </a:rPr>
                        <a:t>  </a:t>
                      </a:r>
                      <a:r>
                        <a:rPr lang="ja-JP" altLang="ja-JP" sz="2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Noto Sans JP Black" panose="020B0200000000000000"/>
                          <a:cs typeface="+mn-cs"/>
                        </a:rPr>
                        <a:t>在宅医療で支える慢性腎不全〜」</a:t>
                      </a:r>
                      <a:endParaRPr lang="ja-JP" altLang="ja-JP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Noto Sans JP Black" panose="020B0200000000000000"/>
                        <a:cs typeface="+mn-cs"/>
                      </a:endParaRPr>
                    </a:p>
                    <a:p>
                      <a:endParaRPr kumimoji="1" lang="ja-JP" altLang="en-US" sz="2400" b="1" dirty="0">
                        <a:solidFill>
                          <a:schemeClr val="tx1"/>
                        </a:solidFill>
                        <a:latin typeface="Noto Sans JP Black" panose="020B0200000000000000" pitchFamily="50" charset="-128"/>
                        <a:ea typeface="Noto Sans JP Black" panose="020B0200000000000000" pitchFamily="50" charset="-128"/>
                      </a:endParaRPr>
                    </a:p>
                  </a:txBody>
                  <a:tcPr marL="112955" marR="112955" marT="56478" marB="56478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医療法人社団企寄命会</a:t>
                      </a:r>
                      <a:endParaRPr kumimoji="1" lang="en-US" altLang="ja-JP" sz="20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/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椎名﨑クリニック</a:t>
                      </a:r>
                      <a:endParaRPr kumimoji="1" lang="en-US" altLang="ja-JP" sz="20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/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医療法人　すずらん会</a:t>
                      </a:r>
                      <a:endParaRPr kumimoji="1" lang="en-US" altLang="ja-JP" sz="20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/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たろうクリニック葛西　</a:t>
                      </a:r>
                      <a:endParaRPr kumimoji="1" lang="en-US" altLang="ja-JP" sz="20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/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南里正之先生</a:t>
                      </a:r>
                    </a:p>
                  </a:txBody>
                  <a:tcPr marL="112955" marR="112955" marT="56478" marB="56478" anchor="ctr"/>
                </a:tc>
                <a:extLst>
                  <a:ext uri="{0D108BD9-81ED-4DB2-BD59-A6C34878D82A}">
                    <a16:rowId xmlns:a16="http://schemas.microsoft.com/office/drawing/2014/main" val="3862779876"/>
                  </a:ext>
                </a:extLst>
              </a:tr>
              <a:tr h="1055231">
                <a:tc>
                  <a:txBody>
                    <a:bodyPr/>
                    <a:lstStyle/>
                    <a:p>
                      <a:pPr marL="0" marR="0" lvl="0" indent="0" algn="l" defTabSz="7200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1:00</a:t>
                      </a:r>
                      <a:r>
                        <a:rPr kumimoji="1" lang="ja-JP" altLang="en-US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～</a:t>
                      </a:r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1:25</a:t>
                      </a:r>
                    </a:p>
                    <a:p>
                      <a:r>
                        <a:rPr lang="ja-JP" altLang="en-US" sz="2400" b="1" kern="1200" dirty="0">
                          <a:solidFill>
                            <a:schemeClr val="tx1"/>
                          </a:solidFill>
                          <a:effectLst/>
                          <a:latin typeface="ＭＳ Ｐゴシック" panose="020B0600070205080204" pitchFamily="50" charset="-128"/>
                          <a:ea typeface="Noto Sans JP Black" panose="020B0200000000000000"/>
                          <a:cs typeface="+mn-cs"/>
                        </a:rPr>
                        <a:t>「腎臓病が進行した際の治療法について</a:t>
                      </a:r>
                      <a:endParaRPr lang="en-US" altLang="ja-JP" sz="2400" b="1" kern="1200" dirty="0">
                        <a:solidFill>
                          <a:schemeClr val="tx1"/>
                        </a:solidFill>
                        <a:effectLst/>
                        <a:latin typeface="ＭＳ Ｐゴシック" panose="020B0600070205080204" pitchFamily="50" charset="-128"/>
                        <a:ea typeface="Noto Sans JP Black" panose="020B0200000000000000"/>
                        <a:cs typeface="+mn-cs"/>
                      </a:endParaRPr>
                    </a:p>
                    <a:p>
                      <a:r>
                        <a:rPr lang="en-US" altLang="ja-JP" sz="2400" b="1" kern="1200" dirty="0">
                          <a:solidFill>
                            <a:schemeClr val="tx1"/>
                          </a:solidFill>
                          <a:effectLst/>
                          <a:latin typeface="ＭＳ Ｐゴシック" panose="020B0600070205080204" pitchFamily="50" charset="-128"/>
                          <a:ea typeface="Noto Sans JP Black" panose="020B0200000000000000"/>
                          <a:cs typeface="+mn-cs"/>
                        </a:rPr>
                        <a:t>   </a:t>
                      </a:r>
                      <a:r>
                        <a:rPr lang="ja-JP" altLang="en-US" sz="2400" b="1" kern="1200" dirty="0">
                          <a:solidFill>
                            <a:schemeClr val="tx1"/>
                          </a:solidFill>
                          <a:effectLst/>
                          <a:latin typeface="ＭＳ Ｐゴシック" panose="020B0600070205080204" pitchFamily="50" charset="-128"/>
                          <a:ea typeface="Noto Sans JP Black" panose="020B0200000000000000"/>
                          <a:cs typeface="+mn-cs"/>
                        </a:rPr>
                        <a:t>ご説明いたします」</a:t>
                      </a:r>
                      <a:endParaRPr lang="en-US" altLang="ja-JP" sz="2400" b="1" kern="1200" dirty="0">
                        <a:solidFill>
                          <a:schemeClr val="tx1"/>
                        </a:solidFill>
                        <a:effectLst/>
                        <a:latin typeface="ＭＳ Ｐゴシック" panose="020B0600070205080204" pitchFamily="50" charset="-128"/>
                        <a:ea typeface="Noto Sans JP Black" panose="020B0200000000000000"/>
                        <a:cs typeface="+mn-cs"/>
                      </a:endParaRPr>
                    </a:p>
                  </a:txBody>
                  <a:tcPr marL="112955" marR="112955" marT="56478" marB="56478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仁生社　江戸川病院</a:t>
                      </a:r>
                      <a:endParaRPr kumimoji="1" lang="en-US" altLang="ja-JP" sz="20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kumimoji="1" lang="ja-JP" altLang="en-US" sz="20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副院長　古賀祥嗣先生</a:t>
                      </a:r>
                    </a:p>
                  </a:txBody>
                  <a:tcPr marL="112955" marR="112955" marT="56478" marB="56478" anchor="ctr"/>
                </a:tc>
                <a:extLst>
                  <a:ext uri="{0D108BD9-81ED-4DB2-BD59-A6C34878D82A}">
                    <a16:rowId xmlns:a16="http://schemas.microsoft.com/office/drawing/2014/main" val="133357505"/>
                  </a:ext>
                </a:extLst>
              </a:tr>
              <a:tr h="1134873">
                <a:tc>
                  <a:txBody>
                    <a:bodyPr/>
                    <a:lstStyle/>
                    <a:p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1:25</a:t>
                      </a:r>
                      <a:r>
                        <a:rPr kumimoji="1" lang="ja-JP" altLang="en-US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～</a:t>
                      </a:r>
                      <a:r>
                        <a:rPr kumimoji="1" lang="en-US" altLang="ja-JP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11:30</a:t>
                      </a:r>
                    </a:p>
                    <a:p>
                      <a:r>
                        <a:rPr kumimoji="1" lang="ja-JP" altLang="en-US" sz="2400" b="1" dirty="0">
                          <a:solidFill>
                            <a:schemeClr val="tx1"/>
                          </a:solidFill>
                          <a:latin typeface="Noto Sans JP Black" panose="020B0200000000000000" pitchFamily="50" charset="-128"/>
                          <a:ea typeface="Noto Sans JP Black" panose="020B0200000000000000" pitchFamily="50" charset="-128"/>
                        </a:rPr>
                        <a:t>　閉会の辞</a:t>
                      </a:r>
                    </a:p>
                    <a:p>
                      <a:endParaRPr lang="ja-JP" altLang="ja-JP" sz="1800" kern="1200" dirty="0">
                        <a:solidFill>
                          <a:schemeClr val="tx1"/>
                        </a:solidFill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112955" marR="112955" marT="56478" marB="56478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kumimoji="1" lang="ja-JP" altLang="en-US" sz="18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仁生社　江戸川病院</a:t>
                      </a:r>
                      <a:endParaRPr kumimoji="1" lang="en-US" altLang="ja-JP" sz="18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l">
                        <a:lnSpc>
                          <a:spcPct val="150000"/>
                        </a:lnSpc>
                      </a:pPr>
                      <a:r>
                        <a:rPr kumimoji="1" lang="ja-JP" altLang="en-US" sz="1800" b="1" dirty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副院長　古賀祥嗣先生</a:t>
                      </a:r>
                    </a:p>
                    <a:p>
                      <a:pPr algn="l">
                        <a:lnSpc>
                          <a:spcPct val="150000"/>
                        </a:lnSpc>
                      </a:pPr>
                      <a:endParaRPr kumimoji="1" lang="ja-JP" altLang="en-US" sz="1700" b="1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112955" marR="112955" marT="56478" marB="56478" anchor="ctr"/>
                </a:tc>
                <a:extLst>
                  <a:ext uri="{0D108BD9-81ED-4DB2-BD59-A6C34878D82A}">
                    <a16:rowId xmlns:a16="http://schemas.microsoft.com/office/drawing/2014/main" val="2191261752"/>
                  </a:ext>
                </a:extLst>
              </a:tr>
            </a:tbl>
          </a:graphicData>
        </a:graphic>
      </p:graphicFrame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E3161142-3811-893E-B00F-04D4D555E662}"/>
              </a:ext>
            </a:extLst>
          </p:cNvPr>
          <p:cNvSpPr txBox="1">
            <a:spLocks/>
          </p:cNvSpPr>
          <p:nvPr/>
        </p:nvSpPr>
        <p:spPr>
          <a:xfrm>
            <a:off x="737149" y="3618449"/>
            <a:ext cx="8193745" cy="1417435"/>
          </a:xfrm>
          <a:prstGeom prst="rect">
            <a:avLst/>
          </a:prstGeom>
        </p:spPr>
        <p:txBody>
          <a:bodyPr vert="horz" lIns="0" tIns="56478" rIns="112955" bIns="56478" rtlCol="0">
            <a:noAutofit/>
          </a:bodyPr>
          <a:lstStyle>
            <a:lvl1pPr marL="0" indent="0" algn="l" defTabSz="582927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91464" indent="0" algn="l" defTabSz="582927" rtl="0" eaLnBrk="1" latinLnBrk="0" hangingPunct="1">
              <a:lnSpc>
                <a:spcPct val="150000"/>
              </a:lnSpc>
              <a:spcBef>
                <a:spcPts val="319"/>
              </a:spcBef>
              <a:buFont typeface="Arial" panose="020B0604020202020204" pitchFamily="34" charset="0"/>
              <a:buNone/>
              <a:defRPr sz="1000" b="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2pPr>
            <a:lvl3pPr marL="728659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20123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311587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603051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1894515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2185979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2477443" indent="-145732" algn="l" defTabSz="582927" rtl="0" eaLnBrk="1" latinLnBrk="0" hangingPunct="1">
              <a:lnSpc>
                <a:spcPct val="90000"/>
              </a:lnSpc>
              <a:spcBef>
                <a:spcPts val="319"/>
              </a:spcBef>
              <a:buClr>
                <a:schemeClr val="bg2"/>
              </a:buClr>
              <a:buFont typeface="Arial" panose="020B0604020202020204" pitchFamily="34" charset="0"/>
              <a:buChar char="&gt;"/>
              <a:defRPr sz="89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20090">
              <a:defRPr/>
            </a:pPr>
            <a:endParaRPr kumimoji="0" lang="en-US" altLang="ja-JP" sz="1976" b="1" dirty="0">
              <a:solidFill>
                <a:srgbClr val="72256C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defTabSz="720090">
              <a:defRPr/>
            </a:pPr>
            <a:r>
              <a:rPr kumimoji="0" lang="ja-JP" altLang="en-US" sz="1976" b="1" dirty="0">
                <a:solidFill>
                  <a:srgbClr val="72256C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総合司会</a:t>
            </a:r>
            <a:br>
              <a:rPr kumimoji="0" lang="en-US" sz="1235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kumimoji="0" lang="ja-JP" altLang="en-US" sz="2400" b="1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古賀祥嗣先生　　</a:t>
            </a:r>
            <a:r>
              <a:rPr kumimoji="0" lang="en-US" altLang="ja-JP" sz="1729" b="1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	</a:t>
            </a:r>
            <a:r>
              <a:rPr kumimoji="0" lang="ja-JP" altLang="en-US" sz="2400" b="1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　仁生社　江戸川病院</a:t>
            </a:r>
            <a:r>
              <a:rPr kumimoji="0" lang="en-US" altLang="ja-JP" sz="2400" b="1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     </a:t>
            </a:r>
            <a:r>
              <a:rPr kumimoji="0" lang="ja-JP" altLang="en-US" sz="2400" b="1" dirty="0">
                <a:solidFill>
                  <a:srgbClr val="115742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副院長</a:t>
            </a:r>
            <a:endParaRPr kumimoji="0" lang="en-US" altLang="ja-JP" sz="2400" b="1" dirty="0">
              <a:solidFill>
                <a:srgbClr val="115742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just" defTabSz="720090"/>
            <a:endParaRPr kumimoji="0" lang="en-US" altLang="ja-JP" sz="1235" dirty="0">
              <a:solidFill>
                <a:srgbClr val="115742"/>
              </a:solidFill>
            </a:endParaRPr>
          </a:p>
          <a:p>
            <a:pPr algn="just" defTabSz="720090"/>
            <a:endParaRPr kumimoji="0" lang="en-US" altLang="ja-JP" sz="1235" dirty="0">
              <a:solidFill>
                <a:srgbClr val="115742"/>
              </a:solidFill>
            </a:endParaRPr>
          </a:p>
          <a:p>
            <a:pPr algn="just" defTabSz="720090"/>
            <a:r>
              <a:rPr kumimoji="0" lang="ja-JP" altLang="en-US" sz="1235" dirty="0">
                <a:solidFill>
                  <a:srgbClr val="115742"/>
                </a:solidFill>
              </a:rPr>
              <a:t>　</a:t>
            </a:r>
            <a:endParaRPr kumimoji="0" lang="en-US" altLang="ja-JP" sz="1235" dirty="0">
              <a:solidFill>
                <a:srgbClr val="115742"/>
              </a:solidFill>
            </a:endParaRPr>
          </a:p>
          <a:p>
            <a:pPr defTabSz="720090">
              <a:defRPr/>
            </a:pPr>
            <a:endParaRPr kumimoji="0" lang="en-US" sz="1235" dirty="0">
              <a:solidFill>
                <a:srgbClr val="115742"/>
              </a:solidFill>
              <a:latin typeface="Arial"/>
            </a:endParaRPr>
          </a:p>
        </p:txBody>
      </p:sp>
      <p:pic>
        <p:nvPicPr>
          <p:cNvPr id="43" name="図 42">
            <a:extLst>
              <a:ext uri="{FF2B5EF4-FFF2-40B4-BE49-F238E27FC236}">
                <a16:creationId xmlns:a16="http://schemas.microsoft.com/office/drawing/2014/main" id="{2C04EC48-32E7-A2F3-ECF4-CC622967656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373" t="37160" r="35186" b="23889"/>
          <a:stretch/>
        </p:blipFill>
        <p:spPr>
          <a:xfrm>
            <a:off x="737149" y="10213840"/>
            <a:ext cx="2648537" cy="11504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4" name="図 43">
            <a:extLst>
              <a:ext uri="{FF2B5EF4-FFF2-40B4-BE49-F238E27FC236}">
                <a16:creationId xmlns:a16="http://schemas.microsoft.com/office/drawing/2014/main" id="{5D922A61-6F4C-E669-C9FE-57CFAA328D9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b="44381"/>
          <a:stretch/>
        </p:blipFill>
        <p:spPr>
          <a:xfrm>
            <a:off x="5493534" y="10109107"/>
            <a:ext cx="1713475" cy="13068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D83A0C84-3A88-15BA-CE43-5BA44C135D2A}"/>
              </a:ext>
            </a:extLst>
          </p:cNvPr>
          <p:cNvSpPr/>
          <p:nvPr/>
        </p:nvSpPr>
        <p:spPr>
          <a:xfrm>
            <a:off x="4020442" y="11493364"/>
            <a:ext cx="1713475" cy="5521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284613" indent="-284613"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  <a:buFont typeface="Arial" panose="020B0604020202020204" pitchFamily="34" charset="0"/>
              <a:buChar char="&gt;"/>
            </a:pPr>
            <a:endParaRPr lang="ja-JP" altLang="en-US" sz="1729" dirty="0">
              <a:solidFill>
                <a:srgbClr val="FFF9EB"/>
              </a:solidFill>
              <a:latin typeface="Arial"/>
            </a:endParaRPr>
          </a:p>
        </p:txBody>
      </p:sp>
      <p:pic>
        <p:nvPicPr>
          <p:cNvPr id="47" name="図 46">
            <a:extLst>
              <a:ext uri="{FF2B5EF4-FFF2-40B4-BE49-F238E27FC236}">
                <a16:creationId xmlns:a16="http://schemas.microsoft.com/office/drawing/2014/main" id="{3D72E7D7-8C1B-9189-A348-047F19AB82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1024" y="10213311"/>
            <a:ext cx="1225063" cy="1225063"/>
          </a:xfrm>
          <a:prstGeom prst="rect">
            <a:avLst/>
          </a:prstGeom>
        </p:spPr>
      </p:pic>
      <p:pic>
        <p:nvPicPr>
          <p:cNvPr id="48" name="図 47">
            <a:extLst>
              <a:ext uri="{FF2B5EF4-FFF2-40B4-BE49-F238E27FC236}">
                <a16:creationId xmlns:a16="http://schemas.microsoft.com/office/drawing/2014/main" id="{876FEAC8-DC57-EC18-3D25-0DA2EBB742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06818" y="10197122"/>
            <a:ext cx="1305922" cy="1305922"/>
          </a:xfrm>
          <a:prstGeom prst="rect">
            <a:avLst/>
          </a:prstGeom>
        </p:spPr>
      </p:pic>
      <p:sp>
        <p:nvSpPr>
          <p:cNvPr id="50" name="四角形: 角を丸くする 49">
            <a:extLst>
              <a:ext uri="{FF2B5EF4-FFF2-40B4-BE49-F238E27FC236}">
                <a16:creationId xmlns:a16="http://schemas.microsoft.com/office/drawing/2014/main" id="{C2C69783-8B8F-5F82-952D-3086BFA063F0}"/>
              </a:ext>
            </a:extLst>
          </p:cNvPr>
          <p:cNvSpPr/>
          <p:nvPr/>
        </p:nvSpPr>
        <p:spPr>
          <a:xfrm>
            <a:off x="642808" y="11438374"/>
            <a:ext cx="8578907" cy="129576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共催：</a:t>
            </a:r>
            <a:r>
              <a:rPr lang="en-US" altLang="ja-JP" sz="1600" dirty="0">
                <a:solidFill>
                  <a:srgbClr val="FFF9EB"/>
                </a:solidFill>
                <a:latin typeface="Arial"/>
              </a:rPr>
              <a:t>NPO</a:t>
            </a: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法人　東京腎臓病協議会</a:t>
            </a:r>
            <a:endParaRPr lang="en-US" altLang="ja-JP" sz="1600" dirty="0">
              <a:solidFill>
                <a:srgbClr val="FFF9EB"/>
              </a:solidFill>
              <a:latin typeface="Arial"/>
            </a:endParaRPr>
          </a:p>
          <a:p>
            <a:pPr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　　　株式会社ヴァンティブ（東京都港区芝浦三丁目</a:t>
            </a:r>
            <a:r>
              <a:rPr lang="en-US" altLang="ja-JP" sz="1600" dirty="0">
                <a:solidFill>
                  <a:srgbClr val="FFF9EB"/>
                </a:solidFill>
                <a:latin typeface="Arial"/>
              </a:rPr>
              <a:t>4</a:t>
            </a: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－</a:t>
            </a:r>
            <a:r>
              <a:rPr lang="en-US" altLang="ja-JP" sz="1600" dirty="0">
                <a:solidFill>
                  <a:srgbClr val="FFF9EB"/>
                </a:solidFill>
                <a:latin typeface="Arial"/>
              </a:rPr>
              <a:t>1</a:t>
            </a: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　グランパークタワー</a:t>
            </a:r>
            <a:r>
              <a:rPr lang="en-US" altLang="ja-JP" sz="1600" dirty="0">
                <a:solidFill>
                  <a:srgbClr val="FFF9EB"/>
                </a:solidFill>
                <a:latin typeface="Arial"/>
              </a:rPr>
              <a:t>30</a:t>
            </a: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階</a:t>
            </a:r>
            <a:endParaRPr lang="en-US" altLang="ja-JP" sz="1600" dirty="0">
              <a:solidFill>
                <a:srgbClr val="FFF9EB"/>
              </a:solidFill>
              <a:latin typeface="Arial"/>
            </a:endParaRPr>
          </a:p>
          <a:p>
            <a:pPr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r>
              <a:rPr lang="ja-JP" altLang="en-US" sz="1600" dirty="0">
                <a:solidFill>
                  <a:srgbClr val="FFF9EB"/>
                </a:solidFill>
                <a:latin typeface="Arial"/>
              </a:rPr>
              <a:t>お問い合わせ：</a:t>
            </a:r>
            <a:r>
              <a:rPr kumimoji="0" lang="en-US" altLang="ja-JP" sz="1600" dirty="0">
                <a:solidFill>
                  <a:srgbClr val="FFFFFF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</a:t>
            </a:r>
            <a:r>
              <a:rPr kumimoji="0" lang="en-US" altLang="ja-JP" sz="1600" dirty="0">
                <a:solidFill>
                  <a:srgbClr val="FFFFFF"/>
                </a:solidFill>
              </a:rPr>
              <a:t>kifumi.mormoto@vantive.com</a:t>
            </a:r>
            <a:endParaRPr lang="en-US" altLang="ja-JP" sz="1600" dirty="0">
              <a:solidFill>
                <a:srgbClr val="FFF9EB"/>
              </a:solidFill>
              <a:latin typeface="Arial"/>
            </a:endParaRPr>
          </a:p>
        </p:txBody>
      </p:sp>
      <p:sp>
        <p:nvSpPr>
          <p:cNvPr id="6" name="四角形: 角を丸くする 5">
            <a:extLst>
              <a:ext uri="{FF2B5EF4-FFF2-40B4-BE49-F238E27FC236}">
                <a16:creationId xmlns:a16="http://schemas.microsoft.com/office/drawing/2014/main" id="{E554A10E-27DA-F17F-95D6-6048A6982897}"/>
              </a:ext>
            </a:extLst>
          </p:cNvPr>
          <p:cNvSpPr/>
          <p:nvPr/>
        </p:nvSpPr>
        <p:spPr>
          <a:xfrm>
            <a:off x="5615148" y="3158489"/>
            <a:ext cx="1798690" cy="44475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endParaRPr lang="en-US" altLang="ja-JP" sz="1976" dirty="0">
              <a:solidFill>
                <a:srgbClr val="FFF9EB"/>
              </a:solidFill>
              <a:latin typeface="Arial"/>
            </a:endParaRPr>
          </a:p>
          <a:p>
            <a:pPr algn="ctr"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r>
              <a:rPr lang="ja-JP" altLang="en-US" sz="1976" dirty="0">
                <a:solidFill>
                  <a:srgbClr val="FFF9EB"/>
                </a:solidFill>
                <a:latin typeface="Arial"/>
              </a:rPr>
              <a:t>事前申込先</a:t>
            </a:r>
            <a:endParaRPr lang="en-US" altLang="ja-JP" sz="1976" dirty="0">
              <a:solidFill>
                <a:srgbClr val="FFF9EB"/>
              </a:solidFill>
              <a:latin typeface="Arial"/>
            </a:endParaRPr>
          </a:p>
          <a:p>
            <a:pPr algn="ctr" defTabSz="1129558">
              <a:lnSpc>
                <a:spcPct val="90000"/>
              </a:lnSpc>
              <a:spcBef>
                <a:spcPts val="1235"/>
              </a:spcBef>
              <a:buClr>
                <a:srgbClr val="FFF9EB"/>
              </a:buClr>
            </a:pPr>
            <a:endParaRPr lang="en-US" altLang="ja-JP" sz="1976" dirty="0">
              <a:solidFill>
                <a:srgbClr val="FFF9EB"/>
              </a:solidFill>
              <a:latin typeface="Arial"/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8A996A95-E890-6445-A5C5-687E9EA11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06818" y="2258348"/>
            <a:ext cx="1928889" cy="2022128"/>
          </a:xfrm>
          <a:prstGeom prst="rect">
            <a:avLst/>
          </a:prstGeom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B72FE3E-F407-6FBD-1E34-8192BC0A69B8}"/>
              </a:ext>
            </a:extLst>
          </p:cNvPr>
          <p:cNvSpPr txBox="1"/>
          <p:nvPr/>
        </p:nvSpPr>
        <p:spPr>
          <a:xfrm>
            <a:off x="6758871" y="124607"/>
            <a:ext cx="2770310" cy="60837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</a:pPr>
            <a:r>
              <a:rPr lang="en-US" altLang="ja-JP" sz="1400" b="0" i="0" dirty="0">
                <a:solidFill>
                  <a:srgbClr val="7030A0"/>
                </a:solidFill>
                <a:effectLst/>
                <a:latin typeface="Arial" panose="020B0604020202020204" pitchFamily="34" charset="0"/>
              </a:rPr>
              <a:t>JP-RC00-250287 (v1.0) 04/2025</a:t>
            </a:r>
            <a:endParaRPr kumimoji="1" lang="ja-JP" altLang="en-US" sz="1400" dirty="0">
              <a:solidFill>
                <a:srgbClr val="7030A0"/>
              </a:solidFill>
            </a:endParaRPr>
          </a:p>
          <a:p>
            <a:pPr marL="230400" indent="-230400" algn="l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&gt;"/>
            </a:pPr>
            <a:endParaRPr kumimoji="1" lang="ja-JP" alt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932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0iFTix30eqoGUoNddd5Q"/>
</p:tagLst>
</file>

<file path=ppt/theme/theme1.xml><?xml version="1.0" encoding="utf-8"?>
<a:theme xmlns:a="http://schemas.openxmlformats.org/drawingml/2006/main" name="Baxter slim version 4x3">
  <a:themeElements>
    <a:clrScheme name="Baxter main">
      <a:dk1>
        <a:srgbClr val="54585A"/>
      </a:dk1>
      <a:lt1>
        <a:srgbClr val="FFFFFF"/>
      </a:lt1>
      <a:dk2>
        <a:srgbClr val="003399"/>
      </a:dk2>
      <a:lt2>
        <a:srgbClr val="001A72"/>
      </a:lt2>
      <a:accent1>
        <a:srgbClr val="009EDA"/>
      </a:accent1>
      <a:accent2>
        <a:srgbClr val="FA8300"/>
      </a:accent2>
      <a:accent3>
        <a:srgbClr val="BE531C"/>
      </a:accent3>
      <a:accent4>
        <a:srgbClr val="652D86"/>
      </a:accent4>
      <a:accent5>
        <a:srgbClr val="00857D"/>
      </a:accent5>
      <a:accent6>
        <a:srgbClr val="4A773C"/>
      </a:accent6>
      <a:hlink>
        <a:srgbClr val="54585A"/>
      </a:hlink>
      <a:folHlink>
        <a:srgbClr val="54585A"/>
      </a:folHlink>
    </a:clrScheme>
    <a:fontScheme name="ユーザー定義 5">
      <a:majorFont>
        <a:latin typeface="Franklin Gothic Demi"/>
        <a:ea typeface="ＭＳ Ｐゴシック"/>
        <a:cs typeface=""/>
      </a:majorFont>
      <a:minorFont>
        <a:latin typeface="Franklin Gothic Book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>
    <a:spDef>
      <a:spPr>
        <a:solidFill>
          <a:schemeClr val="accent1"/>
        </a:solidFill>
        <a:ln cap="rnd">
          <a:solidFill>
            <a:srgbClr val="0070C0"/>
          </a:solidFill>
        </a:ln>
      </a:spPr>
      <a:bodyPr wrap="square" anchor="ctr">
        <a:spAutoFit/>
      </a:bodyPr>
      <a:lstStyle>
        <a:defPPr algn="ctr">
          <a:defRPr b="1" dirty="0">
            <a:solidFill>
              <a:schemeClr val="bg1"/>
            </a:solidFill>
            <a:latin typeface="+mn-ea"/>
          </a:defRPr>
        </a:defPPr>
      </a:lstStyle>
    </a:spDef>
    <a:lnDef>
      <a:spPr>
        <a:custGeom>
          <a:avLst/>
          <a:gdLst/>
          <a:ahLst/>
          <a:cxnLst/>
          <a:rect l="l" t="t" r="r" b="b"/>
          <a:pathLst/>
        </a:custGeom>
        <a:ln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rtlCol="0">
        <a:spAutoFit/>
      </a:bodyPr>
      <a:lstStyle>
        <a:defPPr algn="l">
          <a:defRPr sz="180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Vantive Plum Template 2024">
  <a:themeElements>
    <a:clrScheme name="Vantive 6">
      <a:dk1>
        <a:srgbClr val="000000"/>
      </a:dk1>
      <a:lt1>
        <a:srgbClr val="FFFFFF"/>
      </a:lt1>
      <a:dk2>
        <a:srgbClr val="636466"/>
      </a:dk2>
      <a:lt2>
        <a:srgbClr val="FFF9EB"/>
      </a:lt2>
      <a:accent1>
        <a:srgbClr val="72256C"/>
      </a:accent1>
      <a:accent2>
        <a:srgbClr val="115742"/>
      </a:accent2>
      <a:accent3>
        <a:srgbClr val="6CA07B"/>
      </a:accent3>
      <a:accent4>
        <a:srgbClr val="636466"/>
      </a:accent4>
      <a:accent5>
        <a:srgbClr val="CEE0D8"/>
      </a:accent5>
      <a:accent6>
        <a:srgbClr val="B892B5"/>
      </a:accent6>
      <a:hlink>
        <a:srgbClr val="ACAEB1"/>
      </a:hlink>
      <a:folHlink>
        <a:srgbClr val="FFF9EB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>
        <a:noAutofit/>
      </a:bodyPr>
      <a:lstStyle>
        <a:defPPr marL="230400" indent="-230400" algn="l">
          <a:lnSpc>
            <a:spcPct val="90000"/>
          </a:lnSpc>
          <a:spcBef>
            <a:spcPts val="1000"/>
          </a:spcBef>
          <a:buClr>
            <a:schemeClr val="bg2"/>
          </a:buClr>
          <a:buFont typeface="Arial" panose="020B0604020202020204" pitchFamily="34" charset="0"/>
          <a:buChar char="&gt;"/>
          <a:defRPr sz="14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30400" indent="-230400" algn="l">
          <a:lnSpc>
            <a:spcPct val="90000"/>
          </a:lnSpc>
          <a:spcBef>
            <a:spcPts val="1000"/>
          </a:spcBef>
          <a:buClr>
            <a:schemeClr val="accent2"/>
          </a:buClr>
          <a:buFont typeface="Arial" panose="020B0604020202020204" pitchFamily="34" charset="0"/>
          <a:buChar char="&gt;"/>
          <a:defRPr sz="1400"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標準">
  <a:themeElements>
    <a:clrScheme name="標準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標準">
      <a:majorFont>
        <a:latin typeface="游ゴシック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標準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9005c46-b352-42a5-b245-2eeab3fd49aa" xsi:nil="true"/>
    <lcf76f155ced4ddcb4097134ff3c332f xmlns="c352b604-3979-49c8-b73d-f3ceb0ac9185">
      <Terms xmlns="http://schemas.microsoft.com/office/infopath/2007/PartnerControls"/>
    </lcf76f155ced4ddcb4097134ff3c332f>
    <SharedWithUsers xmlns="29005c46-b352-42a5-b245-2eeab3fd49aa">
      <UserInfo>
        <DisplayName>Sugiyama, Miyuki MP MRK CC</DisplayName>
        <AccountId>11</AccountId>
        <AccountType/>
      </UserInfo>
      <UserInfo>
        <DisplayName>Shimano, Yuki Renal</DisplayName>
        <AccountId>1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A49985191A88428D9D364A6B1BA643" ma:contentTypeVersion="15" ma:contentTypeDescription="Create a new document." ma:contentTypeScope="" ma:versionID="a99e935e6f5d1e158bbaf1bb60f1d05f">
  <xsd:schema xmlns:xsd="http://www.w3.org/2001/XMLSchema" xmlns:xs="http://www.w3.org/2001/XMLSchema" xmlns:p="http://schemas.microsoft.com/office/2006/metadata/properties" xmlns:ns2="c352b604-3979-49c8-b73d-f3ceb0ac9185" xmlns:ns3="29005c46-b352-42a5-b245-2eeab3fd49aa" targetNamespace="http://schemas.microsoft.com/office/2006/metadata/properties" ma:root="true" ma:fieldsID="f1a1495bf757092cb67c3a498aa10ff3" ns2:_="" ns3:_="">
    <xsd:import namespace="c352b604-3979-49c8-b73d-f3ceb0ac9185"/>
    <xsd:import namespace="29005c46-b352-42a5-b245-2eeab3fd49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52b604-3979-49c8-b73d-f3ceb0ac91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47c2b8ba-d870-46a6-97ca-78ed0bd7c7a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005c46-b352-42a5-b245-2eeab3fd49aa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c8a8bf5-9c55-4d96-9c1f-79ca4c020a38}" ma:internalName="TaxCatchAll" ma:showField="CatchAllData" ma:web="29005c46-b352-42a5-b245-2eeab3fd49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C6C7B5-560D-4684-9CC1-240137237AFC}">
  <ds:schemaRefs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29005c46-b352-42a5-b245-2eeab3fd49aa"/>
    <ds:schemaRef ds:uri="c352b604-3979-49c8-b73d-f3ceb0ac9185"/>
  </ds:schemaRefs>
</ds:datastoreItem>
</file>

<file path=customXml/itemProps2.xml><?xml version="1.0" encoding="utf-8"?>
<ds:datastoreItem xmlns:ds="http://schemas.openxmlformats.org/officeDocument/2006/customXml" ds:itemID="{268ECAB6-B163-4C96-B734-77C2E303E81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97EEB1-B5E9-4AC8-8FB2-FBD1F5D2F3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52b604-3979-49c8-b73d-f3ceb0ac9185"/>
    <ds:schemaRef ds:uri="29005c46-b352-42a5-b245-2eeab3fd49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25</TotalTime>
  <Words>179</Words>
  <Application>Microsoft Office PowerPoint</Application>
  <PresentationFormat>A3 297x420 mm</PresentationFormat>
  <Paragraphs>38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5" baseType="lpstr">
      <vt:lpstr>Acumin Pro Wide</vt:lpstr>
      <vt:lpstr>Helvetica Neue</vt:lpstr>
      <vt:lpstr>ＭＳ Ｐゴシック</vt:lpstr>
      <vt:lpstr>Noto Sans JP Black</vt:lpstr>
      <vt:lpstr>System Font Regular</vt:lpstr>
      <vt:lpstr>游ゴシック</vt:lpstr>
      <vt:lpstr>Arial</vt:lpstr>
      <vt:lpstr>Arial Black</vt:lpstr>
      <vt:lpstr>Courier New</vt:lpstr>
      <vt:lpstr>Franklin Gothic Book</vt:lpstr>
      <vt:lpstr>Franklin Gothic Demi</vt:lpstr>
      <vt:lpstr>Baxter slim version 4x3</vt:lpstr>
      <vt:lpstr>Vantive Plum Template 2024</vt:lpstr>
      <vt:lpstr>think-cell スライド</vt:lpstr>
      <vt:lpstr>区民公開講座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川村 美穂子</dc:creator>
  <cp:lastModifiedBy>Morimoto, Akifumi  MP RNL</cp:lastModifiedBy>
  <cp:revision>32</cp:revision>
  <cp:lastPrinted>2025-04-09T03:27:11Z</cp:lastPrinted>
  <dcterms:created xsi:type="dcterms:W3CDTF">2020-02-06T07:48:55Z</dcterms:created>
  <dcterms:modified xsi:type="dcterms:W3CDTF">2025-04-24T04:0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A49985191A88428D9D364A6B1BA643</vt:lpwstr>
  </property>
  <property fmtid="{D5CDD505-2E9C-101B-9397-08002B2CF9AE}" pid="3" name="MediaServiceImageTags">
    <vt:lpwstr/>
  </property>
  <property fmtid="{D5CDD505-2E9C-101B-9397-08002B2CF9AE}" pid="4" name="MSIP_Label_defa4170-0d19-0005-0004-bc88714345d2_Enabled">
    <vt:lpwstr>true</vt:lpwstr>
  </property>
  <property fmtid="{D5CDD505-2E9C-101B-9397-08002B2CF9AE}" pid="5" name="MSIP_Label_defa4170-0d19-0005-0004-bc88714345d2_SetDate">
    <vt:lpwstr>2024-12-18T12:42:19Z</vt:lpwstr>
  </property>
  <property fmtid="{D5CDD505-2E9C-101B-9397-08002B2CF9AE}" pid="6" name="MSIP_Label_defa4170-0d19-0005-0004-bc88714345d2_Method">
    <vt:lpwstr>Standard</vt:lpwstr>
  </property>
  <property fmtid="{D5CDD505-2E9C-101B-9397-08002B2CF9AE}" pid="7" name="MSIP_Label_defa4170-0d19-0005-0004-bc88714345d2_Name">
    <vt:lpwstr>defa4170-0d19-0005-0004-bc88714345d2</vt:lpwstr>
  </property>
  <property fmtid="{D5CDD505-2E9C-101B-9397-08002B2CF9AE}" pid="8" name="MSIP_Label_defa4170-0d19-0005-0004-bc88714345d2_SiteId">
    <vt:lpwstr>4db037bb-7f1e-40a0-add2-df4a6079d204</vt:lpwstr>
  </property>
  <property fmtid="{D5CDD505-2E9C-101B-9397-08002B2CF9AE}" pid="9" name="MSIP_Label_defa4170-0d19-0005-0004-bc88714345d2_ActionId">
    <vt:lpwstr>8a32e12e-1de8-46a4-9581-de8a7c082fbf</vt:lpwstr>
  </property>
  <property fmtid="{D5CDD505-2E9C-101B-9397-08002B2CF9AE}" pid="10" name="MSIP_Label_defa4170-0d19-0005-0004-bc88714345d2_ContentBits">
    <vt:lpwstr>0</vt:lpwstr>
  </property>
</Properties>
</file>